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3" r:id="rId5"/>
  </p:sldMasterIdLst>
  <p:notesMasterIdLst>
    <p:notesMasterId r:id="rId17"/>
  </p:notesMasterIdLst>
  <p:sldIdLst>
    <p:sldId id="3277" r:id="rId6"/>
    <p:sldId id="3278" r:id="rId7"/>
    <p:sldId id="3271" r:id="rId8"/>
    <p:sldId id="3267" r:id="rId9"/>
    <p:sldId id="3268" r:id="rId10"/>
    <p:sldId id="3269" r:id="rId11"/>
    <p:sldId id="3270" r:id="rId12"/>
    <p:sldId id="3273" r:id="rId13"/>
    <p:sldId id="3279" r:id="rId14"/>
    <p:sldId id="3274" r:id="rId15"/>
    <p:sldId id="3276" r:id="rId16"/>
  </p:sldIdLst>
  <p:sldSz cx="12192000" cy="6858000"/>
  <p:notesSz cx="6858000" cy="9144000"/>
  <p:custDataLst>
    <p:tags r:id="rId1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presentação" id="{E20D33F3-A018-4C8E-A130-328C4FE28C9E}">
          <p14:sldIdLst>
            <p14:sldId id="3277"/>
            <p14:sldId id="3278"/>
            <p14:sldId id="3271"/>
            <p14:sldId id="3267"/>
            <p14:sldId id="3268"/>
            <p14:sldId id="3269"/>
            <p14:sldId id="3270"/>
            <p14:sldId id="3273"/>
            <p14:sldId id="3279"/>
            <p14:sldId id="3274"/>
            <p14:sldId id="327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fia Beatriz Henriques" initials="" lastIdx="0" clrIdx="0"/>
  <p:cmAuthor id="2" name="Ana Filipa Lourenço" initials="AFL" lastIdx="1" clrIdx="1">
    <p:extLst>
      <p:ext uri="{19B8F6BF-5375-455C-9EA6-DF929625EA0E}">
        <p15:presenceInfo xmlns:p15="http://schemas.microsoft.com/office/powerpoint/2012/main" userId="S::ana.f.lourenco@ctt.pt::29f62d50-c737-4e2e-82c2-966474031b7f" providerId="AD"/>
      </p:ext>
    </p:extLst>
  </p:cmAuthor>
  <p:cmAuthor id="3" name="Ricardo Luz" initials="RL" lastIdx="1" clrIdx="2">
    <p:extLst>
      <p:ext uri="{19B8F6BF-5375-455C-9EA6-DF929625EA0E}">
        <p15:presenceInfo xmlns:p15="http://schemas.microsoft.com/office/powerpoint/2012/main" userId="S::ricardo.b.luz@ctt.pt::86766a8c-e6f1-477a-beb2-94d92b1c18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EB4"/>
    <a:srgbClr val="E7FFFE"/>
    <a:srgbClr val="C292C2"/>
    <a:srgbClr val="B4D246"/>
    <a:srgbClr val="DF0024"/>
    <a:srgbClr val="FFEB00"/>
    <a:srgbClr val="FFFBCC"/>
    <a:srgbClr val="F299A7"/>
    <a:srgbClr val="F9CCD3"/>
    <a:srgbClr val="EE1D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6B033C-6EBB-4A68-AD09-DA9D342074F2}" v="7" dt="2021-02-09T13:15:22.809"/>
    <p1510:client id="{A63A6F1B-9C49-4994-A771-445C998E7624}" v="16" dt="2021-02-09T11:03:07.3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04" autoAdjust="0"/>
    <p:restoredTop sz="90864" autoAdjust="0"/>
  </p:normalViewPr>
  <p:slideViewPr>
    <p:cSldViewPr snapToGrid="0">
      <p:cViewPr varScale="1">
        <p:scale>
          <a:sx n="72" d="100"/>
          <a:sy n="72" d="100"/>
        </p:scale>
        <p:origin x="600" y="8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ário Vitorino Sousa" userId="673cd5a3-4db6-4f30-baff-300df9bc3e5c" providerId="ADAL" clId="{326B033C-6EBB-4A68-AD09-DA9D342074F2}"/>
    <pc:docChg chg="custSel addSld modSld modSection">
      <pc:chgData name="Mário Vitorino Sousa" userId="673cd5a3-4db6-4f30-baff-300df9bc3e5c" providerId="ADAL" clId="{326B033C-6EBB-4A68-AD09-DA9D342074F2}" dt="2021-02-09T13:18:26.560" v="501" actId="1035"/>
      <pc:docMkLst>
        <pc:docMk/>
      </pc:docMkLst>
      <pc:sldChg chg="delSp modSp mod">
        <pc:chgData name="Mário Vitorino Sousa" userId="673cd5a3-4db6-4f30-baff-300df9bc3e5c" providerId="ADAL" clId="{326B033C-6EBB-4A68-AD09-DA9D342074F2}" dt="2021-02-09T13:09:48.529" v="408" actId="20577"/>
        <pc:sldMkLst>
          <pc:docMk/>
          <pc:sldMk cId="2677930522" sldId="3263"/>
        </pc:sldMkLst>
        <pc:graphicFrameChg chg="mod">
          <ac:chgData name="Mário Vitorino Sousa" userId="673cd5a3-4db6-4f30-baff-300df9bc3e5c" providerId="ADAL" clId="{326B033C-6EBB-4A68-AD09-DA9D342074F2}" dt="2021-02-09T13:06:41.275" v="273" actId="1036"/>
          <ac:graphicFrameMkLst>
            <pc:docMk/>
            <pc:sldMk cId="2677930522" sldId="3263"/>
            <ac:graphicFrameMk id="9" creationId="{9728801F-65A3-41D0-B83F-C402D706844D}"/>
          </ac:graphicFrameMkLst>
        </pc:graphicFrameChg>
        <pc:graphicFrameChg chg="del">
          <ac:chgData name="Mário Vitorino Sousa" userId="673cd5a3-4db6-4f30-baff-300df9bc3e5c" providerId="ADAL" clId="{326B033C-6EBB-4A68-AD09-DA9D342074F2}" dt="2021-02-09T13:06:23.236" v="215" actId="478"/>
          <ac:graphicFrameMkLst>
            <pc:docMk/>
            <pc:sldMk cId="2677930522" sldId="3263"/>
            <ac:graphicFrameMk id="14" creationId="{EF2EF271-F729-47F9-893A-5E4B8342B04A}"/>
          </ac:graphicFrameMkLst>
        </pc:graphicFrameChg>
        <pc:graphicFrameChg chg="mod modGraphic">
          <ac:chgData name="Mário Vitorino Sousa" userId="673cd5a3-4db6-4f30-baff-300df9bc3e5c" providerId="ADAL" clId="{326B033C-6EBB-4A68-AD09-DA9D342074F2}" dt="2021-02-09T13:06:33.253" v="246" actId="1035"/>
          <ac:graphicFrameMkLst>
            <pc:docMk/>
            <pc:sldMk cId="2677930522" sldId="3263"/>
            <ac:graphicFrameMk id="15" creationId="{671CF710-1123-464B-8124-CBD27E209A1B}"/>
          </ac:graphicFrameMkLst>
        </pc:graphicFrameChg>
        <pc:graphicFrameChg chg="mod modGraphic">
          <ac:chgData name="Mário Vitorino Sousa" userId="673cd5a3-4db6-4f30-baff-300df9bc3e5c" providerId="ADAL" clId="{326B033C-6EBB-4A68-AD09-DA9D342074F2}" dt="2021-02-09T13:09:48.529" v="408" actId="20577"/>
          <ac:graphicFrameMkLst>
            <pc:docMk/>
            <pc:sldMk cId="2677930522" sldId="3263"/>
            <ac:graphicFrameMk id="28" creationId="{17BE0EB8-B50B-464B-A1D4-6DE10C06DD0A}"/>
          </ac:graphicFrameMkLst>
        </pc:graphicFrameChg>
      </pc:sldChg>
      <pc:sldChg chg="modSp mod">
        <pc:chgData name="Mário Vitorino Sousa" userId="673cd5a3-4db6-4f30-baff-300df9bc3e5c" providerId="ADAL" clId="{326B033C-6EBB-4A68-AD09-DA9D342074F2}" dt="2021-02-09T13:13:18.310" v="458" actId="1076"/>
        <pc:sldMkLst>
          <pc:docMk/>
          <pc:sldMk cId="2198283963" sldId="3267"/>
        </pc:sldMkLst>
        <pc:spChg chg="mod">
          <ac:chgData name="Mário Vitorino Sousa" userId="673cd5a3-4db6-4f30-baff-300df9bc3e5c" providerId="ADAL" clId="{326B033C-6EBB-4A68-AD09-DA9D342074F2}" dt="2021-02-09T13:13:18.310" v="458" actId="1076"/>
          <ac:spMkLst>
            <pc:docMk/>
            <pc:sldMk cId="2198283963" sldId="3267"/>
            <ac:spMk id="4" creationId="{32F8DE52-F407-47F6-B25F-EBB545D98774}"/>
          </ac:spMkLst>
        </pc:spChg>
        <pc:spChg chg="mod">
          <ac:chgData name="Mário Vitorino Sousa" userId="673cd5a3-4db6-4f30-baff-300df9bc3e5c" providerId="ADAL" clId="{326B033C-6EBB-4A68-AD09-DA9D342074F2}" dt="2021-02-09T13:02:13.131" v="109" actId="20577"/>
          <ac:spMkLst>
            <pc:docMk/>
            <pc:sldMk cId="2198283963" sldId="3267"/>
            <ac:spMk id="12" creationId="{9E94B056-6301-4101-8957-7047165AC10E}"/>
          </ac:spMkLst>
        </pc:spChg>
      </pc:sldChg>
      <pc:sldChg chg="modSp mod">
        <pc:chgData name="Mário Vitorino Sousa" userId="673cd5a3-4db6-4f30-baff-300df9bc3e5c" providerId="ADAL" clId="{326B033C-6EBB-4A68-AD09-DA9D342074F2}" dt="2021-02-09T13:03:29.381" v="121" actId="20577"/>
        <pc:sldMkLst>
          <pc:docMk/>
          <pc:sldMk cId="539681337" sldId="3269"/>
        </pc:sldMkLst>
        <pc:spChg chg="mod">
          <ac:chgData name="Mário Vitorino Sousa" userId="673cd5a3-4db6-4f30-baff-300df9bc3e5c" providerId="ADAL" clId="{326B033C-6EBB-4A68-AD09-DA9D342074F2}" dt="2021-02-09T13:03:29.381" v="121" actId="20577"/>
          <ac:spMkLst>
            <pc:docMk/>
            <pc:sldMk cId="539681337" sldId="3269"/>
            <ac:spMk id="13" creationId="{7F587115-00BE-4EFA-9E72-3115E82C7D5A}"/>
          </ac:spMkLst>
        </pc:spChg>
      </pc:sldChg>
      <pc:sldChg chg="modSp mod">
        <pc:chgData name="Mário Vitorino Sousa" userId="673cd5a3-4db6-4f30-baff-300df9bc3e5c" providerId="ADAL" clId="{326B033C-6EBB-4A68-AD09-DA9D342074F2}" dt="2021-02-09T11:43:30.623" v="3" actId="20577"/>
        <pc:sldMkLst>
          <pc:docMk/>
          <pc:sldMk cId="2065409130" sldId="3270"/>
        </pc:sldMkLst>
        <pc:spChg chg="mod">
          <ac:chgData name="Mário Vitorino Sousa" userId="673cd5a3-4db6-4f30-baff-300df9bc3e5c" providerId="ADAL" clId="{326B033C-6EBB-4A68-AD09-DA9D342074F2}" dt="2021-02-09T11:43:30.623" v="3" actId="20577"/>
          <ac:spMkLst>
            <pc:docMk/>
            <pc:sldMk cId="2065409130" sldId="3270"/>
            <ac:spMk id="15" creationId="{671D9EF5-8CBC-454D-B1A2-E718F74DDE17}"/>
          </ac:spMkLst>
        </pc:spChg>
      </pc:sldChg>
      <pc:sldChg chg="addSp delSp modSp mod">
        <pc:chgData name="Mário Vitorino Sousa" userId="673cd5a3-4db6-4f30-baff-300df9bc3e5c" providerId="ADAL" clId="{326B033C-6EBB-4A68-AD09-DA9D342074F2}" dt="2021-02-09T13:14:09.366" v="478" actId="113"/>
        <pc:sldMkLst>
          <pc:docMk/>
          <pc:sldMk cId="2116953103" sldId="3271"/>
        </pc:sldMkLst>
        <pc:spChg chg="del mod">
          <ac:chgData name="Mário Vitorino Sousa" userId="673cd5a3-4db6-4f30-baff-300df9bc3e5c" providerId="ADAL" clId="{326B033C-6EBB-4A68-AD09-DA9D342074F2}" dt="2021-02-09T13:12:38.323" v="448" actId="478"/>
          <ac:spMkLst>
            <pc:docMk/>
            <pc:sldMk cId="2116953103" sldId="3271"/>
            <ac:spMk id="4" creationId="{32F8DE52-F407-47F6-B25F-EBB545D98774}"/>
          </ac:spMkLst>
        </pc:spChg>
        <pc:spChg chg="add mod">
          <ac:chgData name="Mário Vitorino Sousa" userId="673cd5a3-4db6-4f30-baff-300df9bc3e5c" providerId="ADAL" clId="{326B033C-6EBB-4A68-AD09-DA9D342074F2}" dt="2021-02-09T13:14:09.366" v="478" actId="113"/>
          <ac:spMkLst>
            <pc:docMk/>
            <pc:sldMk cId="2116953103" sldId="3271"/>
            <ac:spMk id="24" creationId="{76BA8A3D-1ADE-43F0-A618-EE46A04C2C2F}"/>
          </ac:spMkLst>
        </pc:spChg>
        <pc:spChg chg="mod">
          <ac:chgData name="Mário Vitorino Sousa" userId="673cd5a3-4db6-4f30-baff-300df9bc3e5c" providerId="ADAL" clId="{326B033C-6EBB-4A68-AD09-DA9D342074F2}" dt="2021-02-09T13:00:06.287" v="53" actId="403"/>
          <ac:spMkLst>
            <pc:docMk/>
            <pc:sldMk cId="2116953103" sldId="3271"/>
            <ac:spMk id="30" creationId="{552B2C7F-328E-4476-AE9E-DF748627040E}"/>
          </ac:spMkLst>
        </pc:spChg>
        <pc:spChg chg="mod">
          <ac:chgData name="Mário Vitorino Sousa" userId="673cd5a3-4db6-4f30-baff-300df9bc3e5c" providerId="ADAL" clId="{326B033C-6EBB-4A68-AD09-DA9D342074F2}" dt="2021-02-09T13:00:20.121" v="56" actId="403"/>
          <ac:spMkLst>
            <pc:docMk/>
            <pc:sldMk cId="2116953103" sldId="3271"/>
            <ac:spMk id="33" creationId="{9BD5B1F9-8312-4686-AD7F-AD4A43765EAA}"/>
          </ac:spMkLst>
        </pc:spChg>
        <pc:spChg chg="mod">
          <ac:chgData name="Mário Vitorino Sousa" userId="673cd5a3-4db6-4f30-baff-300df9bc3e5c" providerId="ADAL" clId="{326B033C-6EBB-4A68-AD09-DA9D342074F2}" dt="2021-02-09T13:00:12.134" v="54" actId="403"/>
          <ac:spMkLst>
            <pc:docMk/>
            <pc:sldMk cId="2116953103" sldId="3271"/>
            <ac:spMk id="40" creationId="{384B78CA-E16C-4740-BADE-593DCA22C031}"/>
          </ac:spMkLst>
        </pc:spChg>
        <pc:spChg chg="mod">
          <ac:chgData name="Mário Vitorino Sousa" userId="673cd5a3-4db6-4f30-baff-300df9bc3e5c" providerId="ADAL" clId="{326B033C-6EBB-4A68-AD09-DA9D342074F2}" dt="2021-02-09T13:00:00.037" v="52" actId="403"/>
          <ac:spMkLst>
            <pc:docMk/>
            <pc:sldMk cId="2116953103" sldId="3271"/>
            <ac:spMk id="58" creationId="{092C0D9F-DE87-42E0-A079-1ABEBC5027A0}"/>
          </ac:spMkLst>
        </pc:spChg>
      </pc:sldChg>
      <pc:sldChg chg="modSp mod">
        <pc:chgData name="Mário Vitorino Sousa" userId="673cd5a3-4db6-4f30-baff-300df9bc3e5c" providerId="ADAL" clId="{326B033C-6EBB-4A68-AD09-DA9D342074F2}" dt="2021-02-09T13:08:36.804" v="405" actId="20577"/>
        <pc:sldMkLst>
          <pc:docMk/>
          <pc:sldMk cId="1101619691" sldId="3274"/>
        </pc:sldMkLst>
        <pc:spChg chg="mod">
          <ac:chgData name="Mário Vitorino Sousa" userId="673cd5a3-4db6-4f30-baff-300df9bc3e5c" providerId="ADAL" clId="{326B033C-6EBB-4A68-AD09-DA9D342074F2}" dt="2021-02-09T13:08:36.804" v="405" actId="20577"/>
          <ac:spMkLst>
            <pc:docMk/>
            <pc:sldMk cId="1101619691" sldId="3274"/>
            <ac:spMk id="2" creationId="{DF56F69A-10A9-4076-A487-51E61AE9594D}"/>
          </ac:spMkLst>
        </pc:spChg>
        <pc:spChg chg="mod">
          <ac:chgData name="Mário Vitorino Sousa" userId="673cd5a3-4db6-4f30-baff-300df9bc3e5c" providerId="ADAL" clId="{326B033C-6EBB-4A68-AD09-DA9D342074F2}" dt="2021-02-09T13:08:23.713" v="403" actId="20577"/>
          <ac:spMkLst>
            <pc:docMk/>
            <pc:sldMk cId="1101619691" sldId="3274"/>
            <ac:spMk id="17" creationId="{95CEC738-2965-410F-BA3C-A5C4BDD871FA}"/>
          </ac:spMkLst>
        </pc:spChg>
      </pc:sldChg>
      <pc:sldChg chg="addSp modSp mod">
        <pc:chgData name="Mário Vitorino Sousa" userId="673cd5a3-4db6-4f30-baff-300df9bc3e5c" providerId="ADAL" clId="{326B033C-6EBB-4A68-AD09-DA9D342074F2}" dt="2021-02-09T13:14:47.475" v="482" actId="1035"/>
        <pc:sldMkLst>
          <pc:docMk/>
          <pc:sldMk cId="2940338980" sldId="3277"/>
        </pc:sldMkLst>
        <pc:spChg chg="add mod">
          <ac:chgData name="Mário Vitorino Sousa" userId="673cd5a3-4db6-4f30-baff-300df9bc3e5c" providerId="ADAL" clId="{326B033C-6EBB-4A68-AD09-DA9D342074F2}" dt="2021-02-09T13:14:47.475" v="482" actId="1035"/>
          <ac:spMkLst>
            <pc:docMk/>
            <pc:sldMk cId="2940338980" sldId="3277"/>
            <ac:spMk id="3" creationId="{E772EC3C-8DAB-4082-BD52-871585D146FC}"/>
          </ac:spMkLst>
        </pc:spChg>
      </pc:sldChg>
      <pc:sldChg chg="addSp delSp modSp add mod">
        <pc:chgData name="Mário Vitorino Sousa" userId="673cd5a3-4db6-4f30-baff-300df9bc3e5c" providerId="ADAL" clId="{326B033C-6EBB-4A68-AD09-DA9D342074F2}" dt="2021-02-09T13:15:22.809" v="485"/>
        <pc:sldMkLst>
          <pc:docMk/>
          <pc:sldMk cId="4265836852" sldId="3278"/>
        </pc:sldMkLst>
        <pc:spChg chg="del mod">
          <ac:chgData name="Mário Vitorino Sousa" userId="673cd5a3-4db6-4f30-baff-300df9bc3e5c" providerId="ADAL" clId="{326B033C-6EBB-4A68-AD09-DA9D342074F2}" dt="2021-02-09T13:12:23.387" v="447" actId="478"/>
          <ac:spMkLst>
            <pc:docMk/>
            <pc:sldMk cId="4265836852" sldId="3278"/>
            <ac:spMk id="4" creationId="{32F8DE52-F407-47F6-B25F-EBB545D98774}"/>
          </ac:spMkLst>
        </pc:spChg>
        <pc:spChg chg="add del mod">
          <ac:chgData name="Mário Vitorino Sousa" userId="673cd5a3-4db6-4f30-baff-300df9bc3e5c" providerId="ADAL" clId="{326B033C-6EBB-4A68-AD09-DA9D342074F2}" dt="2021-02-09T13:15:12.484" v="484" actId="478"/>
          <ac:spMkLst>
            <pc:docMk/>
            <pc:sldMk cId="4265836852" sldId="3278"/>
            <ac:spMk id="28" creationId="{C4F7EF7F-3A72-4CFF-998F-CC40164EDA4D}"/>
          </ac:spMkLst>
        </pc:spChg>
        <pc:spChg chg="add del mod">
          <ac:chgData name="Mário Vitorino Sousa" userId="673cd5a3-4db6-4f30-baff-300df9bc3e5c" providerId="ADAL" clId="{326B033C-6EBB-4A68-AD09-DA9D342074F2}" dt="2021-02-09T13:13:03.822" v="453" actId="478"/>
          <ac:spMkLst>
            <pc:docMk/>
            <pc:sldMk cId="4265836852" sldId="3278"/>
            <ac:spMk id="29" creationId="{825BBC26-2CC4-4B1B-8A03-9FBC7498EA9A}"/>
          </ac:spMkLst>
        </pc:spChg>
        <pc:spChg chg="add del mod">
          <ac:chgData name="Mário Vitorino Sousa" userId="673cd5a3-4db6-4f30-baff-300df9bc3e5c" providerId="ADAL" clId="{326B033C-6EBB-4A68-AD09-DA9D342074F2}" dt="2021-02-09T13:13:07.389" v="455" actId="478"/>
          <ac:spMkLst>
            <pc:docMk/>
            <pc:sldMk cId="4265836852" sldId="3278"/>
            <ac:spMk id="30" creationId="{35E8896D-E591-4A98-93D7-E2A7E96AA06F}"/>
          </ac:spMkLst>
        </pc:spChg>
        <pc:spChg chg="add mod">
          <ac:chgData name="Mário Vitorino Sousa" userId="673cd5a3-4db6-4f30-baff-300df9bc3e5c" providerId="ADAL" clId="{326B033C-6EBB-4A68-AD09-DA9D342074F2}" dt="2021-02-09T13:15:22.809" v="485"/>
          <ac:spMkLst>
            <pc:docMk/>
            <pc:sldMk cId="4265836852" sldId="3278"/>
            <ac:spMk id="31" creationId="{38A71BF3-1268-425C-9C2A-298A635D2A54}"/>
          </ac:spMkLst>
        </pc:spChg>
      </pc:sldChg>
      <pc:sldChg chg="addSp delSp modSp add mod">
        <pc:chgData name="Mário Vitorino Sousa" userId="673cd5a3-4db6-4f30-baff-300df9bc3e5c" providerId="ADAL" clId="{326B033C-6EBB-4A68-AD09-DA9D342074F2}" dt="2021-02-09T13:18:26.560" v="501" actId="1035"/>
        <pc:sldMkLst>
          <pc:docMk/>
          <pc:sldMk cId="1574485037" sldId="3279"/>
        </pc:sldMkLst>
        <pc:spChg chg="mod">
          <ac:chgData name="Mário Vitorino Sousa" userId="673cd5a3-4db6-4f30-baff-300df9bc3e5c" providerId="ADAL" clId="{326B033C-6EBB-4A68-AD09-DA9D342074F2}" dt="2021-02-09T11:47:25.591" v="32" actId="20577"/>
          <ac:spMkLst>
            <pc:docMk/>
            <pc:sldMk cId="1574485037" sldId="3279"/>
            <ac:spMk id="7" creationId="{4247DF79-0C04-4EB3-B13C-294CC02F2417}"/>
          </ac:spMkLst>
        </pc:spChg>
        <pc:graphicFrameChg chg="del">
          <ac:chgData name="Mário Vitorino Sousa" userId="673cd5a3-4db6-4f30-baff-300df9bc3e5c" providerId="ADAL" clId="{326B033C-6EBB-4A68-AD09-DA9D342074F2}" dt="2021-02-09T11:47:40.038" v="34" actId="478"/>
          <ac:graphicFrameMkLst>
            <pc:docMk/>
            <pc:sldMk cId="1574485037" sldId="3279"/>
            <ac:graphicFrameMk id="9" creationId="{9728801F-65A3-41D0-B83F-C402D706844D}"/>
          </ac:graphicFrameMkLst>
        </pc:graphicFrameChg>
        <pc:graphicFrameChg chg="del">
          <ac:chgData name="Mário Vitorino Sousa" userId="673cd5a3-4db6-4f30-baff-300df9bc3e5c" providerId="ADAL" clId="{326B033C-6EBB-4A68-AD09-DA9D342074F2}" dt="2021-02-09T11:47:49.173" v="35" actId="478"/>
          <ac:graphicFrameMkLst>
            <pc:docMk/>
            <pc:sldMk cId="1574485037" sldId="3279"/>
            <ac:graphicFrameMk id="14" creationId="{EF2EF271-F729-47F9-893A-5E4B8342B04A}"/>
          </ac:graphicFrameMkLst>
        </pc:graphicFrameChg>
        <pc:graphicFrameChg chg="del">
          <ac:chgData name="Mário Vitorino Sousa" userId="673cd5a3-4db6-4f30-baff-300df9bc3e5c" providerId="ADAL" clId="{326B033C-6EBB-4A68-AD09-DA9D342074F2}" dt="2021-02-09T11:47:49.173" v="35" actId="478"/>
          <ac:graphicFrameMkLst>
            <pc:docMk/>
            <pc:sldMk cId="1574485037" sldId="3279"/>
            <ac:graphicFrameMk id="15" creationId="{671CF710-1123-464B-8124-CBD27E209A1B}"/>
          </ac:graphicFrameMkLst>
        </pc:graphicFrameChg>
        <pc:graphicFrameChg chg="del">
          <ac:chgData name="Mário Vitorino Sousa" userId="673cd5a3-4db6-4f30-baff-300df9bc3e5c" providerId="ADAL" clId="{326B033C-6EBB-4A68-AD09-DA9D342074F2}" dt="2021-02-09T11:47:49.173" v="35" actId="478"/>
          <ac:graphicFrameMkLst>
            <pc:docMk/>
            <pc:sldMk cId="1574485037" sldId="3279"/>
            <ac:graphicFrameMk id="21" creationId="{8B629C00-A2F7-4396-98B4-CB2674913AF6}"/>
          </ac:graphicFrameMkLst>
        </pc:graphicFrameChg>
        <pc:graphicFrameChg chg="del">
          <ac:chgData name="Mário Vitorino Sousa" userId="673cd5a3-4db6-4f30-baff-300df9bc3e5c" providerId="ADAL" clId="{326B033C-6EBB-4A68-AD09-DA9D342074F2}" dt="2021-02-09T11:47:36.487" v="33" actId="478"/>
          <ac:graphicFrameMkLst>
            <pc:docMk/>
            <pc:sldMk cId="1574485037" sldId="3279"/>
            <ac:graphicFrameMk id="28" creationId="{17BE0EB8-B50B-464B-A1D4-6DE10C06DD0A}"/>
          </ac:graphicFrameMkLst>
        </pc:graphicFrameChg>
        <pc:picChg chg="add mod">
          <ac:chgData name="Mário Vitorino Sousa" userId="673cd5a3-4db6-4f30-baff-300df9bc3e5c" providerId="ADAL" clId="{326B033C-6EBB-4A68-AD09-DA9D342074F2}" dt="2021-02-09T13:18:26.560" v="501" actId="1035"/>
          <ac:picMkLst>
            <pc:docMk/>
            <pc:sldMk cId="1574485037" sldId="3279"/>
            <ac:picMk id="3" creationId="{4359723F-4906-4B68-A729-42D35051F448}"/>
          </ac:picMkLst>
        </pc:picChg>
        <pc:picChg chg="add mod">
          <ac:chgData name="Mário Vitorino Sousa" userId="673cd5a3-4db6-4f30-baff-300df9bc3e5c" providerId="ADAL" clId="{326B033C-6EBB-4A68-AD09-DA9D342074F2}" dt="2021-02-09T13:18:26.560" v="501" actId="1035"/>
          <ac:picMkLst>
            <pc:docMk/>
            <pc:sldMk cId="1574485037" sldId="3279"/>
            <ac:picMk id="11" creationId="{99573C13-22E5-4FAD-B63D-25126051AEE3}"/>
          </ac:picMkLst>
        </pc:picChg>
      </pc:sldChg>
    </pc:docChg>
  </pc:docChgLst>
  <pc:docChgLst>
    <pc:chgData name="Mário Vitorino Sousa" userId="673cd5a3-4db6-4f30-baff-300df9bc3e5c" providerId="ADAL" clId="{1E52AF77-4295-4CC2-BC06-7C6E6CCA3524}"/>
    <pc:docChg chg="delSld modSection">
      <pc:chgData name="Mário Vitorino Sousa" userId="673cd5a3-4db6-4f30-baff-300df9bc3e5c" providerId="ADAL" clId="{1E52AF77-4295-4CC2-BC06-7C6E6CCA3524}" dt="2021-02-09T18:19:52.971" v="0" actId="47"/>
      <pc:docMkLst>
        <pc:docMk/>
      </pc:docMkLst>
      <pc:sldChg chg="del">
        <pc:chgData name="Mário Vitorino Sousa" userId="673cd5a3-4db6-4f30-baff-300df9bc3e5c" providerId="ADAL" clId="{1E52AF77-4295-4CC2-BC06-7C6E6CCA3524}" dt="2021-02-09T18:19:52.971" v="0" actId="47"/>
        <pc:sldMkLst>
          <pc:docMk/>
          <pc:sldMk cId="2677930522" sldId="326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AE0B2-5BFA-4F78-8EB0-CAC8D1F9EC72}" type="datetimeFigureOut">
              <a:rPr lang="pt-PT" smtClean="0"/>
              <a:t>09/02/2021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A1F366-52B0-4392-B8D3-E8BA88B1588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749304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1F366-52B0-4392-B8D3-E8BA88B15884}" type="slidenum">
              <a:rPr lang="pt-PT" smtClean="0"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6512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1F366-52B0-4392-B8D3-E8BA88B15884}" type="slidenum">
              <a:rPr lang="pt-PT" smtClean="0"/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91842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1F366-52B0-4392-B8D3-E8BA88B15884}" type="slidenum">
              <a:rPr lang="pt-PT" smtClean="0"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99250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1F366-52B0-4392-B8D3-E8BA88B15884}" type="slidenum">
              <a:rPr lang="pt-PT" smtClean="0"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81396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A1F366-52B0-4392-B8D3-E8BA88B15884}" type="slidenum">
              <a:rPr lang="pt-PT" smtClean="0"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66878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302FC-F77F-4BA6-9D0D-1705227FEF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4E34B4-5714-41FC-9DF0-BACA09AAFC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6D3A8-D71D-48FE-83F4-C8167A09B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8180C0-B854-42C1-AE72-FB22A956A26B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24989B-94E0-4E79-A74C-D266F8ADD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46F1B67-E6E9-40EF-9671-35FE938BB8C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11C1421-C692-4EFA-8BE4-0643FAFE31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1545578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14B70-7416-4D89-BD09-2F0C606E6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128CAD-B0A1-4958-AF31-015700DB90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0D5326-3E52-4640-8D94-49BC04855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0B2AD8-B05A-41BD-B7F9-9B34BB651AAE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15E121-C614-4259-9766-7FFAEE643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B104A4C-AED9-4D04-9D1F-F4521013A37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E7B0FFA-D263-4DBB-9438-1EBCFCDAFC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957176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A23AD2C-C722-4E41-B241-BEC4417125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085ABA-4E05-4492-B052-022FC1384D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CFA429-5F61-4DB5-BD80-AB9DED751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D4FFA-EE71-4176-9BE0-2A1CEF636215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24688F-0A53-4465-AB51-EFBE3A173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A41D73F-A1A3-4289-A982-C687E1D5A2F5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9F10A05-E93F-495C-B825-3915DBA71B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026572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hlinkClick r:id="" action="ppaction://noaction"/>
            <a:extLst>
              <a:ext uri="{FF2B5EF4-FFF2-40B4-BE49-F238E27FC236}">
                <a16:creationId xmlns:a16="http://schemas.microsoft.com/office/drawing/2014/main" id="{45637966-3536-4314-AB19-895E696D0C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40" y="6239723"/>
            <a:ext cx="637412" cy="25294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E32985D-59E9-42F6-B520-3E5F390F83FC}"/>
              </a:ext>
            </a:extLst>
          </p:cNvPr>
          <p:cNvSpPr/>
          <p:nvPr userDrawn="1"/>
        </p:nvSpPr>
        <p:spPr>
          <a:xfrm>
            <a:off x="0" y="0"/>
            <a:ext cx="12192000" cy="93659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4ABBFB77-A267-4792-8401-7A1BE92468D7}"/>
              </a:ext>
            </a:extLst>
          </p:cNvPr>
          <p:cNvSpPr txBox="1">
            <a:spLocks/>
          </p:cNvSpPr>
          <p:nvPr userDrawn="1"/>
        </p:nvSpPr>
        <p:spPr>
          <a:xfrm>
            <a:off x="9345041" y="63316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P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7D7D29-8534-4BD9-9146-8DA3FD55933E}" type="slidenum">
              <a:rPr lang="pt-PT" sz="8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pt-PT" sz="80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570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399AB8-8298-435B-B5C3-8047FAA960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296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399AB8-8298-435B-B5C3-8047FAA960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1D4B00-4D87-4323-BEA0-E016D2233D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000" b="1" i="0" baseline="0" dirty="0">
              <a:latin typeface="Acto CTT Book" panose="00000500000000000000" pitchFamily="50" charset="0"/>
              <a:ea typeface="+mj-ea"/>
              <a:cs typeface="+mj-cs"/>
              <a:sym typeface="Acto CTT Book" panose="00000500000000000000" pitchFamily="50" charset="0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E4988E9F-32BA-1F4D-985E-1A7A766773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83295"/>
          <a:stretch/>
        </p:blipFill>
        <p:spPr>
          <a:xfrm>
            <a:off x="0" y="0"/>
            <a:ext cx="12192000" cy="11456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42E871B-3DB4-1148-BF4A-AC0FD0296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20" y="429316"/>
            <a:ext cx="10515600" cy="558799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pt-PT" sz="2000" b="1" i="0" baseline="0" dirty="0">
                <a:latin typeface="Acto CTT Book" panose="00000500000000000000" pitchFamily="50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  <a:endParaRPr lang="pt-PT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C3A6D8E-6568-D143-AC71-03D09871B2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920" y="1282149"/>
            <a:ext cx="11373402" cy="4807502"/>
          </a:xfrm>
        </p:spPr>
        <p:txBody>
          <a:bodyPr>
            <a:normAutofit/>
          </a:bodyPr>
          <a:lstStyle>
            <a:lvl1pPr marL="0" indent="0">
              <a:buNone/>
              <a:defRPr sz="21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5A8D00-F7CB-0D40-B35E-721248A42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56722" cy="365125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fld id="{3D8B869F-89A9-CB47-B2D6-80F8E9D3668B}" type="slidenum">
              <a:rPr lang="pt-PT" smtClean="0"/>
              <a:pPr/>
              <a:t>‹#›</a:t>
            </a:fld>
            <a:endParaRPr lang="pt-PT" dirty="0"/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F4EDCC98-1D02-4584-91D2-960922FDD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88796"/>
          <a:stretch/>
        </p:blipFill>
        <p:spPr>
          <a:xfrm>
            <a:off x="0" y="6334511"/>
            <a:ext cx="8306602" cy="523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6910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3A40B16-BCAB-C247-94F1-00C0DE99DD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590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5B7293-22E0-AF4E-A429-9F40F5047C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AB81DB-7428-CD43-96E3-D4BCA235B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56" y="424759"/>
            <a:ext cx="10515600" cy="1325563"/>
          </a:xfrm>
        </p:spPr>
        <p:txBody>
          <a:bodyPr>
            <a:normAutofit/>
          </a:bodyPr>
          <a:lstStyle>
            <a:lvl1pPr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4485405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18DFEC-10BB-4F4F-8378-4A3E9A57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6964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18DFEC-10BB-4F4F-8378-4A3E9A57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F16A751-7BFA-4120-8109-DABEC2FB65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000" b="1" i="0" baseline="0" dirty="0">
              <a:latin typeface="Acto CTT Book" panose="00000500000000000000" pitchFamily="50" charset="0"/>
              <a:ea typeface="+mj-ea"/>
              <a:cs typeface="+mj-cs"/>
              <a:sym typeface="Acto CTT Book" panose="00000500000000000000" pitchFamily="50" charset="0"/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C575294A-E7A3-684A-8577-F7C7301A21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83295"/>
          <a:stretch/>
        </p:blipFill>
        <p:spPr>
          <a:xfrm>
            <a:off x="0" y="0"/>
            <a:ext cx="12192000" cy="11456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174483F-423A-D34A-9D0C-7C0192B714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20" y="429316"/>
            <a:ext cx="10515600" cy="558799"/>
          </a:xfrm>
        </p:spPr>
        <p:txBody>
          <a:bodyPr anchor="b">
            <a:noAutofit/>
          </a:bodyPr>
          <a:lstStyle>
            <a:lvl1pPr>
              <a:defRPr sz="2000" b="1" i="0" baseline="0">
                <a:latin typeface="Acto CTT Book" panose="00000500000000000000" pitchFamily="50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pt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979009-5A3D-3948-8182-8CA998F988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920" y="1282149"/>
            <a:ext cx="11373402" cy="4807502"/>
          </a:xfrm>
        </p:spPr>
        <p:txBody>
          <a:bodyPr>
            <a:normAutofit/>
          </a:bodyPr>
          <a:lstStyle>
            <a:lvl1pPr marL="0" indent="0">
              <a:buNone/>
              <a:defRPr sz="2100" baseline="0">
                <a:solidFill>
                  <a:schemeClr val="tx1"/>
                </a:solidFill>
                <a:latin typeface="Acto CTT Book" panose="00000500000000000000" pitchFamily="50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933113-E6B1-2C44-8059-A2EDC75A8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56722" cy="365125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fld id="{3D8B869F-89A9-CB47-B2D6-80F8E9D3668B}" type="slidenum">
              <a:rPr lang="pt-PT" smtClean="0"/>
              <a:pPr/>
              <a:t>‹#›</a:t>
            </a:fld>
            <a:endParaRPr lang="pt-PT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0C15A89-7AD4-405E-B61F-0D08D089DC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89190"/>
          <a:stretch/>
        </p:blipFill>
        <p:spPr>
          <a:xfrm>
            <a:off x="0" y="6352884"/>
            <a:ext cx="8306602" cy="505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57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F4E56179-D4B3-CA42-9958-200F119A93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3AF5A6D-A6A9-0F49-9AFD-9DDEEA53E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56" y="424759"/>
            <a:ext cx="10515600" cy="1325563"/>
          </a:xfrm>
        </p:spPr>
        <p:txBody>
          <a:bodyPr>
            <a:normAutofit/>
          </a:bodyPr>
          <a:lstStyle>
            <a:lvl1pPr>
              <a:defRPr sz="3200" b="1" i="0" baseline="0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082546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345AD12-6648-4B9E-B639-10B8B34EEF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62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345AD12-6648-4B9E-B639-10B8B34EEF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234B6C-7109-478D-8DAF-A075AD9322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000" b="1" i="0" baseline="0" dirty="0">
              <a:latin typeface="Acto CTT Book" panose="00000500000000000000" pitchFamily="50" charset="0"/>
              <a:ea typeface="+mj-ea"/>
              <a:cs typeface="+mj-cs"/>
              <a:sym typeface="Acto CTT Book" panose="00000500000000000000" pitchFamily="50" charset="0"/>
            </a:endParaRP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BE31A204-C198-3A46-A745-1365110B83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85193"/>
          <a:stretch/>
        </p:blipFill>
        <p:spPr>
          <a:xfrm>
            <a:off x="0" y="0"/>
            <a:ext cx="12192000" cy="10154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31FFA5A-1916-AD4A-AD90-4F1DCB0C2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20" y="429316"/>
            <a:ext cx="10515600" cy="558799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pt-PT" sz="2000" b="1" i="0" baseline="0" dirty="0">
                <a:latin typeface="Acto CTT Book" panose="00000500000000000000" pitchFamily="50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  <a:endParaRPr lang="pt-PT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9F84D07-E74B-174D-8183-BA6D70B4EF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920" y="1282149"/>
            <a:ext cx="11373402" cy="4807502"/>
          </a:xfrm>
        </p:spPr>
        <p:txBody>
          <a:bodyPr>
            <a:normAutofit/>
          </a:bodyPr>
          <a:lstStyle>
            <a:lvl1pPr marL="0" indent="0">
              <a:buNone/>
              <a:defRPr sz="21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5E30B79-D447-094D-AAFA-05520B14C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56722" cy="365125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fld id="{3D8B869F-89A9-CB47-B2D6-80F8E9D3668B}" type="slidenum">
              <a:rPr lang="pt-PT" smtClean="0"/>
              <a:pPr/>
              <a:t>‹#›</a:t>
            </a:fld>
            <a:endParaRPr lang="pt-PT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8CB9F520-A723-4A35-9FB0-C9833AA283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88796"/>
          <a:stretch/>
        </p:blipFill>
        <p:spPr>
          <a:xfrm>
            <a:off x="0" y="6334511"/>
            <a:ext cx="8306602" cy="523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959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F6958B9-13DB-8B4F-A83D-7536C37F70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2C13FC8-AE85-8543-A47D-C88368BDF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56" y="424759"/>
            <a:ext cx="10515600" cy="1325563"/>
          </a:xfrm>
        </p:spPr>
        <p:txBody>
          <a:bodyPr>
            <a:normAutofit/>
          </a:bodyPr>
          <a:lstStyle>
            <a:lvl1pPr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231635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8285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4AA4A4-23E8-4438-9356-F02DB0D1E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AC2648-B101-4190-8C57-EC086EF04E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1F88AA-8D87-49B7-B926-9454F676D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82494-055A-4B77-906E-BE282D8491A9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9B63F5-A689-4C49-BF01-D4306FF45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EBBC49B-F828-4D83-903F-081961F3D2FD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EB6D325-B0FF-4020-90B5-83AD55C61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6153061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399AB8-8298-435B-B5C3-8047FAA960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856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399AB8-8298-435B-B5C3-8047FAA960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1D4B00-4D87-4323-BEA0-E016D2233D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000" b="1" i="0" baseline="0" dirty="0">
              <a:latin typeface="Acto CTT Book" panose="00000500000000000000" pitchFamily="50" charset="0"/>
              <a:ea typeface="+mj-ea"/>
              <a:cs typeface="+mj-cs"/>
              <a:sym typeface="Acto CTT Book" panose="00000500000000000000" pitchFamily="50" charset="0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E4988E9F-32BA-1F4D-985E-1A7A766773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83295"/>
          <a:stretch/>
        </p:blipFill>
        <p:spPr>
          <a:xfrm>
            <a:off x="0" y="0"/>
            <a:ext cx="12192000" cy="11456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42E871B-3DB4-1148-BF4A-AC0FD0296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20" y="429316"/>
            <a:ext cx="10515600" cy="558799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pt-PT" sz="2000" b="1" i="0" baseline="0" dirty="0">
                <a:latin typeface="Acto CTT Book" panose="00000500000000000000" pitchFamily="50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  <a:endParaRPr lang="pt-PT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C3A6D8E-6568-D143-AC71-03D09871B2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920" y="1282149"/>
            <a:ext cx="11373402" cy="4807502"/>
          </a:xfrm>
        </p:spPr>
        <p:txBody>
          <a:bodyPr>
            <a:normAutofit/>
          </a:bodyPr>
          <a:lstStyle>
            <a:lvl1pPr marL="0" indent="0">
              <a:buNone/>
              <a:defRPr sz="21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5A8D00-F7CB-0D40-B35E-721248A42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56722" cy="365125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fld id="{3D8B869F-89A9-CB47-B2D6-80F8E9D3668B}" type="slidenum">
              <a:rPr lang="pt-PT" smtClean="0"/>
              <a:pPr/>
              <a:t>‹#›</a:t>
            </a:fld>
            <a:endParaRPr lang="pt-PT" dirty="0"/>
          </a:p>
        </p:txBody>
      </p:sp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F4EDCC98-1D02-4584-91D2-960922FDD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88796"/>
          <a:stretch/>
        </p:blipFill>
        <p:spPr>
          <a:xfrm>
            <a:off x="0" y="6334511"/>
            <a:ext cx="8306602" cy="523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9006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3C34F19-F665-DA42-96EA-EEBD35B2D1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30D0E32-CE8A-6E4C-922E-B0F031586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56" y="424759"/>
            <a:ext cx="10515600" cy="1325563"/>
          </a:xfrm>
        </p:spPr>
        <p:txBody>
          <a:bodyPr>
            <a:normAutofit/>
          </a:bodyPr>
          <a:lstStyle>
            <a:lvl1pPr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2233992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383A22-F227-42D9-8EEC-F959EF6132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873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9383A22-F227-42D9-8EEC-F959EF613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0DF5D3E-099E-4B81-96CF-5549BF6151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000" b="1" i="0" baseline="0" dirty="0">
              <a:latin typeface="Acto CTT Book" panose="00000500000000000000" pitchFamily="50" charset="0"/>
              <a:ea typeface="+mj-ea"/>
              <a:cs typeface="+mj-cs"/>
              <a:sym typeface="Acto CTT Book" panose="00000500000000000000" pitchFamily="50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E822D54A-7AA9-534A-9FE7-2BFBCA4791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84875"/>
          <a:stretch/>
        </p:blipFill>
        <p:spPr>
          <a:xfrm>
            <a:off x="0" y="0"/>
            <a:ext cx="12192000" cy="103728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440FD57-9BD2-9A45-97C9-ECAF0CFC1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20" y="429316"/>
            <a:ext cx="10515600" cy="558799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pt-PT" sz="2000" b="1" i="0" baseline="0" dirty="0">
                <a:latin typeface="Acto CTT Book" panose="00000500000000000000" pitchFamily="50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  <a:endParaRPr lang="pt-PT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8E1DEDC-485B-6242-B9BA-B32964B678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920" y="1282149"/>
            <a:ext cx="11373402" cy="4807502"/>
          </a:xfrm>
        </p:spPr>
        <p:txBody>
          <a:bodyPr>
            <a:normAutofit/>
          </a:bodyPr>
          <a:lstStyle>
            <a:lvl1pPr marL="0" indent="0">
              <a:buNone/>
              <a:defRPr sz="21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614E572-86F9-DC45-8C32-ED94AE913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56722" cy="365125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fld id="{3D8B869F-89A9-CB47-B2D6-80F8E9D3668B}" type="slidenum">
              <a:rPr lang="pt-PT" smtClean="0"/>
              <a:pPr/>
              <a:t>‹#›</a:t>
            </a:fld>
            <a:endParaRPr lang="pt-PT" dirty="0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A98A1789-D025-4443-BD23-D492710CBF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88796"/>
          <a:stretch/>
        </p:blipFill>
        <p:spPr>
          <a:xfrm>
            <a:off x="0" y="6334511"/>
            <a:ext cx="8306602" cy="523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5983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43E92670-1A12-6D46-925C-0DE4AA59AB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3E4D8ED-38E5-9B4A-A30F-C08C726DE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56" y="424759"/>
            <a:ext cx="10515600" cy="1325563"/>
          </a:xfrm>
        </p:spPr>
        <p:txBody>
          <a:bodyPr>
            <a:normAutofit/>
          </a:bodyPr>
          <a:lstStyle>
            <a:lvl1pPr>
              <a:defRPr sz="32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895692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0DA9EE-28AA-452A-8A81-E62A7A63E4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5594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0DA9EE-28AA-452A-8A81-E62A7A63E4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062D15-78B2-4A3A-B7D6-18124B445B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000" b="1" i="0" baseline="0" dirty="0">
              <a:latin typeface="Acto CTT Book" panose="00000500000000000000" pitchFamily="50" charset="0"/>
              <a:ea typeface="+mj-ea"/>
              <a:cs typeface="+mj-cs"/>
              <a:sym typeface="Acto CTT Book" panose="00000500000000000000" pitchFamily="50" charset="0"/>
            </a:endParaRP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287E7303-1471-CC4F-BA8F-74D793A3BC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83295"/>
          <a:stretch/>
        </p:blipFill>
        <p:spPr>
          <a:xfrm>
            <a:off x="0" y="0"/>
            <a:ext cx="12192000" cy="114562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F2D771E-A7E0-8A47-83AB-817697867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920" y="429316"/>
            <a:ext cx="10515600" cy="558799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pt-PT" sz="2000" b="1" i="0" baseline="0" dirty="0">
                <a:latin typeface="Acto CTT Book" panose="00000500000000000000" pitchFamily="50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  <a:endParaRPr lang="pt-PT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D9CC1D0-A3C9-8444-B3E9-D055DC1C1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920" y="1282149"/>
            <a:ext cx="11373402" cy="4807502"/>
          </a:xfrm>
        </p:spPr>
        <p:txBody>
          <a:bodyPr>
            <a:normAutofit/>
          </a:bodyPr>
          <a:lstStyle>
            <a:lvl1pPr marL="0" indent="0">
              <a:buNone/>
              <a:defRPr sz="21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FDDFBF4-21DE-1B4A-84D3-4DB1A16FD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256722" cy="365125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fld id="{3D8B869F-89A9-CB47-B2D6-80F8E9D3668B}" type="slidenum">
              <a:rPr lang="pt-PT" smtClean="0"/>
              <a:pPr/>
              <a:t>‹#›</a:t>
            </a:fld>
            <a:endParaRPr lang="pt-PT" dirty="0"/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4255B5FB-30A6-4048-8D24-890F896945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87101"/>
          <a:stretch/>
        </p:blipFill>
        <p:spPr>
          <a:xfrm>
            <a:off x="0" y="6255319"/>
            <a:ext cx="8306602" cy="60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3362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D6A3D-E43B-FC4F-9E2F-A25BB771C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972A3D-DA1C-8A41-9BC7-BA6888CE6D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E4E530-444E-1048-AC2E-20B82562E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5EBE5-57E4-2E45-A775-69118DD5E69D}" type="datetimeFigureOut">
              <a:rPr lang="en-PT" smtClean="0"/>
              <a:t>02/09/2021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3C1B99-EE3F-D549-8FDB-0828020D69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A7056C-62CC-8748-BAD4-CE8F5205C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29FBD-D343-BE49-81ED-732A53ADF653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1601532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C9048-DA88-43D2-AF9E-9CD230ACA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4B9C0F-D691-4A95-9F06-73C7FC2D9A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5ABF97-7C6A-4388-96C4-652ADE215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46601-7419-4640-938C-8F3801CDA572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E6D6B1-8996-4D6C-97CE-1FABF43B9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746CBB9-BFB7-42DC-8BF3-43F812FF2B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C1C9059-1E5C-4A57-9A5D-5DF7A4BEB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7025615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3D312-6148-4E05-A355-EE0A00EA6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3D20D-84B3-4675-A9E2-3B7D372EBD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519B50-C64A-4C69-9020-02BB1D1918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B33917-F3AE-4861-9239-F4A4E879C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AF410A-1CB1-44F6-BA0C-A1D7681B9D20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191797-4CBD-47C9-B229-E93C523199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2E778DD-7A12-4B3E-B976-0CABD156CFF1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3B31FBF-1A71-468C-9514-AE8EB08790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969571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5BEFE-05BE-411D-8D5D-21111805E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2925D-8B77-46B4-8A7B-479BD26E7E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E5FB24-A750-432B-87C4-952FEB0B02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157153-63EB-44FE-8D11-5B7A711352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DC0E49-17D0-4161-B838-458A08C09A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F4B3B4C-7FA8-4664-B2AB-8410BC316D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88935-ABF0-4F1E-AA7C-3FCB303968D0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CEAC98-B7D7-47D1-B688-C8970C9300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45023CC-E382-4477-8C2C-1DFDBB16D800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9117F03-9040-4D2E-97AD-FBA6AD3E5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285189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EA575-7502-48C3-A5E7-C2C73FBAD0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29EEF9-7CC1-458F-A5DE-D305D5237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413E13-799E-4809-AB9C-D789BC9A4805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60C53C-84F1-41B6-BAD7-EC406A347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C1F6455-6DEF-4FEF-AA32-886770E9680E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15F281D-164B-4E7E-9447-7071EC0589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607592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31EE01-0591-41A1-AC6A-0BDB2151F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57452-CA60-4E9C-BA22-56CB6D06F7C2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82A63C-F724-41DF-B81E-298117997A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8751B39-A84E-44F0-8CC9-21D0D849C14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C6E6D1-250C-49C7-8E08-F2BDD885AF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80267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AB6980-3D56-4D33-8D14-737AD81B3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81419E-8C4B-4A49-A098-42B9104B7D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2E0FD7-E7E0-4C02-B7DE-22BC709A92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77A832-2C60-4234-9D2C-79F48D310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045ED-41EF-43D3-B85E-349DD6787A8F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9D7DB5-1002-42BA-A66A-F6FCF5DB9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E1EFF22-F505-4C95-8280-C547B97A6026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11F30B-F1CC-4DB2-A695-C500E1EB4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844055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05279-0163-426B-A352-7791BA87D8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0926F-92C3-4F47-9732-C2B3C5CE32B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197BC8-AFFF-4F9B-ADAC-FE9F5DFE6B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D477B8-3694-4677-BF8B-036320156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2BD7BE-2D45-4D40-AE42-3742320E76F0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885A07-75B6-469B-9747-80E969E25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6DCF712-4FCC-469F-98F6-DEA08EE9BB6C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B07D72-5B30-4FB9-9D1A-1BBB2E864F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929057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7888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FB6046B-28F9-444F-BE61-679C0F9854E1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BEC442-4A03-4B79-811D-6F7FC98C14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3116D6-2962-48B9-8AD8-0358461F36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3B955-1EE8-4718-ADAE-100A7A78A6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D2DE21-0E63-45B3-BF56-22D52F0A3B03}" type="datetime1">
              <a:rPr lang="pt-PT" smtClean="0"/>
              <a:t>09/02/2021</a:t>
            </a:fld>
            <a:endParaRPr lang="pt-P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7EE6AB-32C2-4A2D-BAE2-B63B55726F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3A95608-023F-4C7D-9020-E81064D55DA9}"/>
              </a:ext>
            </a:extLst>
          </p:cNvPr>
          <p:cNvCxnSpPr>
            <a:cxnSpLocks/>
          </p:cNvCxnSpPr>
          <p:nvPr userDrawn="1"/>
        </p:nvCxnSpPr>
        <p:spPr>
          <a:xfrm flipH="1">
            <a:off x="11511255" y="6721474"/>
            <a:ext cx="216553" cy="1"/>
          </a:xfrm>
          <a:prstGeom prst="line">
            <a:avLst/>
          </a:prstGeom>
          <a:ln>
            <a:solidFill>
              <a:srgbClr val="DF00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923693E-889E-425C-BF09-F1E46325301F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5382" y="6393295"/>
            <a:ext cx="388298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1">
                <a:latin typeface="Acto CTT Book" panose="00000500000000000000" pitchFamily="50" charset="0"/>
              </a:defRPr>
            </a:lvl1pPr>
          </a:lstStyle>
          <a:p>
            <a:fld id="{396DCA2A-4D58-42C7-A68C-BE4BBAC28F8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832004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7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D175DA-1DDD-412A-8532-72399CDDD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74032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D175DA-1DDD-412A-8532-72399CDDD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52F74F-ACCB-4D6A-BE60-DCAE1FF05C2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8A33F9-E5B9-B94E-A5FB-7074B1FDD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2625CE-F435-D84C-BB97-FFC8936851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D8B3E6-E678-2642-9BB5-9CC7F7C728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34ECE5-7FC0-AF4D-9C03-DCFFBA2736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89C736-0E8C-1340-93ED-A38A542D94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8B869F-89A9-CB47-B2D6-80F8E9D3668B}" type="slidenum">
              <a:rPr lang="pt-PT" smtClean="0"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312990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7.xml"/><Relationship Id="rId6" Type="http://schemas.openxmlformats.org/officeDocument/2006/relationships/image" Target="../media/image25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6" Type="http://schemas.openxmlformats.org/officeDocument/2006/relationships/image" Target="../media/image19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1.xml"/><Relationship Id="rId5" Type="http://schemas.openxmlformats.org/officeDocument/2006/relationships/image" Target="../media/image23.png"/><Relationship Id="rId4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5.emf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2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3.xml"/><Relationship Id="rId6" Type="http://schemas.openxmlformats.org/officeDocument/2006/relationships/image" Target="../media/image25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4.x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video" Target="../media/media1.mp4"/><Relationship Id="rId7" Type="http://schemas.openxmlformats.org/officeDocument/2006/relationships/image" Target="../media/image16.emf"/><Relationship Id="rId2" Type="http://schemas.microsoft.com/office/2007/relationships/media" Target="../media/media1.mp4"/><Relationship Id="rId1" Type="http://schemas.openxmlformats.org/officeDocument/2006/relationships/tags" Target="../tags/tag25.x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6.xml"/><Relationship Id="rId6" Type="http://schemas.openxmlformats.org/officeDocument/2006/relationships/image" Target="../media/image25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hand, small, holding&#10;&#10;Description automatically generated">
            <a:extLst>
              <a:ext uri="{FF2B5EF4-FFF2-40B4-BE49-F238E27FC236}">
                <a16:creationId xmlns:a16="http://schemas.microsoft.com/office/drawing/2014/main" id="{6B557A41-1134-8346-AFE4-80E26F9FB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772EC3C-8DAB-4082-BD52-871585D146FC}"/>
              </a:ext>
            </a:extLst>
          </p:cNvPr>
          <p:cNvSpPr/>
          <p:nvPr/>
        </p:nvSpPr>
        <p:spPr>
          <a:xfrm>
            <a:off x="-22860" y="5798820"/>
            <a:ext cx="8605520" cy="556260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cto CTT Book" panose="00000500000000000000" pitchFamily="50" charset="0"/>
                <a:ea typeface="+mn-ea"/>
                <a:cs typeface="+mn-cs"/>
              </a:rPr>
              <a:t>MÁRIO SOUSA</a:t>
            </a:r>
          </a:p>
        </p:txBody>
      </p:sp>
    </p:spTree>
    <p:extLst>
      <p:ext uri="{BB962C8B-B14F-4D97-AF65-F5344CB8AC3E}">
        <p14:creationId xmlns:p14="http://schemas.microsoft.com/office/powerpoint/2010/main" val="29403389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37B0CA-77E5-433E-B71B-C78BFC7BA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37B0CA-77E5-433E-B71B-C78BFC7BA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F8DE52-F407-47F6-B25F-EBB545D98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B869F-89A9-CB47-B2D6-80F8E9D3668B}" type="slidenum">
              <a:rPr lang="pt-PT" smtClean="0"/>
              <a:pPr/>
              <a:t>10</a:t>
            </a:fld>
            <a:endParaRPr lang="pt-PT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F781EFF-E6DA-4267-8749-8E35EB32F1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95472" y="0"/>
            <a:ext cx="3703899" cy="339880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B31A48E-0970-455E-807F-C9120B16F786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2D1A49-B774-490B-BB2B-77C019E9373B}"/>
              </a:ext>
            </a:extLst>
          </p:cNvPr>
          <p:cNvSpPr txBox="1"/>
          <p:nvPr/>
        </p:nvSpPr>
        <p:spPr>
          <a:xfrm>
            <a:off x="168777" y="411906"/>
            <a:ext cx="26762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Imagem 24">
            <a:extLst>
              <a:ext uri="{FF2B5EF4-FFF2-40B4-BE49-F238E27FC236}">
                <a16:creationId xmlns:a16="http://schemas.microsoft.com/office/drawing/2014/main" id="{B3EF6DF3-8DF0-4F91-8E50-0C48C11B57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6550" y="1388119"/>
            <a:ext cx="2375380" cy="4750759"/>
          </a:xfrm>
          <a:prstGeom prst="rect">
            <a:avLst/>
          </a:prstGeom>
        </p:spPr>
      </p:pic>
      <p:pic>
        <p:nvPicPr>
          <p:cNvPr id="16" name="Imagem 21" descr="Uma imagem com autocarro, carro, sentado, camião&#10;&#10;Descrição gerada automaticamente">
            <a:extLst>
              <a:ext uri="{FF2B5EF4-FFF2-40B4-BE49-F238E27FC236}">
                <a16:creationId xmlns:a16="http://schemas.microsoft.com/office/drawing/2014/main" id="{F9AEBB07-E74F-48D2-879B-2F8C6FC1C0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407" y="1388118"/>
            <a:ext cx="2375380" cy="4750759"/>
          </a:xfrm>
          <a:prstGeom prst="rect">
            <a:avLst/>
          </a:prstGeom>
        </p:spPr>
      </p:pic>
      <p:sp>
        <p:nvSpPr>
          <p:cNvPr id="17" name="CaixaDeTexto 26">
            <a:extLst>
              <a:ext uri="{FF2B5EF4-FFF2-40B4-BE49-F238E27FC236}">
                <a16:creationId xmlns:a16="http://schemas.microsoft.com/office/drawing/2014/main" id="{95CEC738-2965-410F-BA3C-A5C4BDD871FA}"/>
              </a:ext>
            </a:extLst>
          </p:cNvPr>
          <p:cNvSpPr txBox="1"/>
          <p:nvPr/>
        </p:nvSpPr>
        <p:spPr>
          <a:xfrm>
            <a:off x="7621631" y="1323563"/>
            <a:ext cx="36777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O meio mais eficaz para manter o comércio local em funcionamento</a:t>
            </a:r>
            <a:endParaRPr lang="es-E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56F69A-10A9-4076-A487-51E61AE9594D}"/>
              </a:ext>
            </a:extLst>
          </p:cNvPr>
          <p:cNvSpPr txBox="1"/>
          <p:nvPr/>
        </p:nvSpPr>
        <p:spPr>
          <a:xfrm>
            <a:off x="7711440" y="2854960"/>
            <a:ext cx="2028119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3600" b="1" dirty="0">
                <a:solidFill>
                  <a:srgbClr val="FF0000"/>
                </a:solidFill>
              </a:rPr>
              <a:t>+</a:t>
            </a:r>
            <a:r>
              <a:rPr lang="pt-PT" sz="3600" b="1" dirty="0"/>
              <a:t> Simples</a:t>
            </a:r>
          </a:p>
          <a:p>
            <a:r>
              <a:rPr lang="pt-PT" sz="3600" b="1" dirty="0">
                <a:solidFill>
                  <a:srgbClr val="FF0000"/>
                </a:solidFill>
              </a:rPr>
              <a:t>+</a:t>
            </a:r>
            <a:r>
              <a:rPr lang="pt-PT" sz="3600" b="1" dirty="0"/>
              <a:t> Eficaz</a:t>
            </a:r>
          </a:p>
          <a:p>
            <a:r>
              <a:rPr lang="pt-PT" sz="3600" b="1" dirty="0">
                <a:solidFill>
                  <a:srgbClr val="FF0000"/>
                </a:solidFill>
              </a:rPr>
              <a:t>+</a:t>
            </a:r>
            <a:r>
              <a:rPr lang="pt-PT" sz="3600" b="1" dirty="0"/>
              <a:t> Seguro</a:t>
            </a:r>
          </a:p>
          <a:p>
            <a:r>
              <a:rPr lang="pt-PT" sz="3600" b="1" dirty="0">
                <a:solidFill>
                  <a:srgbClr val="FF0000"/>
                </a:solidFill>
              </a:rPr>
              <a:t>+</a:t>
            </a:r>
            <a:r>
              <a:rPr lang="pt-PT" sz="3600" b="1" dirty="0"/>
              <a:t> Sucesso</a:t>
            </a:r>
          </a:p>
          <a:p>
            <a:endParaRPr lang="pt-PT" sz="3600" b="1" dirty="0"/>
          </a:p>
        </p:txBody>
      </p:sp>
    </p:spTree>
    <p:extLst>
      <p:ext uri="{BB962C8B-B14F-4D97-AF65-F5344CB8AC3E}">
        <p14:creationId xmlns:p14="http://schemas.microsoft.com/office/powerpoint/2010/main" val="11016196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hand, small, holding&#10;&#10;Description automatically generated">
            <a:extLst>
              <a:ext uri="{FF2B5EF4-FFF2-40B4-BE49-F238E27FC236}">
                <a16:creationId xmlns:a16="http://schemas.microsoft.com/office/drawing/2014/main" id="{6B557A41-1134-8346-AFE4-80E26F9FB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94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37B0CA-77E5-433E-B71B-C78BFC7BA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37B0CA-77E5-433E-B71B-C78BFC7BA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14535344-989C-4D63-AF95-C06F1DB6C628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4EF96D-0517-4EF3-80EB-71257B997048}"/>
              </a:ext>
            </a:extLst>
          </p:cNvPr>
          <p:cNvSpPr txBox="1"/>
          <p:nvPr/>
        </p:nvSpPr>
        <p:spPr>
          <a:xfrm>
            <a:off x="304241" y="411906"/>
            <a:ext cx="26762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ÃO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5E4172-729E-427F-BC93-BEEEC2F98E17}"/>
              </a:ext>
            </a:extLst>
          </p:cNvPr>
          <p:cNvSpPr txBox="1"/>
          <p:nvPr/>
        </p:nvSpPr>
        <p:spPr>
          <a:xfrm>
            <a:off x="304241" y="1038418"/>
            <a:ext cx="21172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judar e apoiar as empresas e os comerciantes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239EAB-FF45-4CA8-8C71-CBD68A05878A}"/>
              </a:ext>
            </a:extLst>
          </p:cNvPr>
          <p:cNvSpPr/>
          <p:nvPr/>
        </p:nvSpPr>
        <p:spPr>
          <a:xfrm>
            <a:off x="3713332" y="503534"/>
            <a:ext cx="7361068" cy="1273938"/>
          </a:xfrm>
          <a:prstGeom prst="rect">
            <a:avLst/>
          </a:prstGeom>
        </p:spPr>
        <p:txBody>
          <a:bodyPr wrap="square" lIns="36000" rIns="72000">
            <a:spAutoFit/>
          </a:bodyPr>
          <a:lstStyle/>
          <a:p>
            <a:pPr>
              <a:lnSpc>
                <a:spcPts val="2200"/>
              </a:lnSpc>
              <a:spcAft>
                <a:spcPts val="600"/>
              </a:spcAft>
            </a:pPr>
            <a:r>
              <a:rPr lang="pt-PT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ólio CTT focado na missão de apoiar as empresas e comerciantes portugueses, num momento de crise, a fazer a transição para a venda online</a:t>
            </a:r>
          </a:p>
          <a:p>
            <a:pPr>
              <a:lnSpc>
                <a:spcPts val="2200"/>
              </a:lnSpc>
              <a:spcAft>
                <a:spcPts val="600"/>
              </a:spcAft>
            </a:pPr>
            <a:endParaRPr lang="pt-PT" sz="1600" b="1" dirty="0">
              <a:solidFill>
                <a:srgbClr val="00BE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31374C9-CB2E-4EAB-BC79-EFD5B04688D0}"/>
              </a:ext>
            </a:extLst>
          </p:cNvPr>
          <p:cNvSpPr/>
          <p:nvPr/>
        </p:nvSpPr>
        <p:spPr>
          <a:xfrm>
            <a:off x="8372599" y="1915861"/>
            <a:ext cx="1643288" cy="649582"/>
          </a:xfrm>
          <a:prstGeom prst="rect">
            <a:avLst/>
          </a:prstGeom>
          <a:solidFill>
            <a:srgbClr val="1CB8AD"/>
          </a:solidFill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3071706505">
                  <a:custGeom>
                    <a:avLst/>
                    <a:gdLst>
                      <a:gd name="connsiteX0" fmla="*/ 0 w 1907298"/>
                      <a:gd name="connsiteY0" fmla="*/ 0 h 766643"/>
                      <a:gd name="connsiteX1" fmla="*/ 616693 w 1907298"/>
                      <a:gd name="connsiteY1" fmla="*/ 0 h 766643"/>
                      <a:gd name="connsiteX2" fmla="*/ 1271532 w 1907298"/>
                      <a:gd name="connsiteY2" fmla="*/ 0 h 766643"/>
                      <a:gd name="connsiteX3" fmla="*/ 1907298 w 1907298"/>
                      <a:gd name="connsiteY3" fmla="*/ 0 h 766643"/>
                      <a:gd name="connsiteX4" fmla="*/ 1907298 w 1907298"/>
                      <a:gd name="connsiteY4" fmla="*/ 375655 h 766643"/>
                      <a:gd name="connsiteX5" fmla="*/ 1907298 w 1907298"/>
                      <a:gd name="connsiteY5" fmla="*/ 766643 h 766643"/>
                      <a:gd name="connsiteX6" fmla="*/ 1290605 w 1907298"/>
                      <a:gd name="connsiteY6" fmla="*/ 766643 h 766643"/>
                      <a:gd name="connsiteX7" fmla="*/ 654839 w 1907298"/>
                      <a:gd name="connsiteY7" fmla="*/ 766643 h 766643"/>
                      <a:gd name="connsiteX8" fmla="*/ 0 w 1907298"/>
                      <a:gd name="connsiteY8" fmla="*/ 766643 h 766643"/>
                      <a:gd name="connsiteX9" fmla="*/ 0 w 1907298"/>
                      <a:gd name="connsiteY9" fmla="*/ 406321 h 766643"/>
                      <a:gd name="connsiteX10" fmla="*/ 0 w 1907298"/>
                      <a:gd name="connsiteY10" fmla="*/ 0 h 7666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907298" h="766643" fill="none" extrusionOk="0">
                        <a:moveTo>
                          <a:pt x="0" y="0"/>
                        </a:moveTo>
                        <a:cubicBezTo>
                          <a:pt x="293788" y="-26178"/>
                          <a:pt x="456065" y="30345"/>
                          <a:pt x="616693" y="0"/>
                        </a:cubicBezTo>
                        <a:cubicBezTo>
                          <a:pt x="777321" y="-30345"/>
                          <a:pt x="1087549" y="4635"/>
                          <a:pt x="1271532" y="0"/>
                        </a:cubicBezTo>
                        <a:cubicBezTo>
                          <a:pt x="1455515" y="-4635"/>
                          <a:pt x="1733379" y="31328"/>
                          <a:pt x="1907298" y="0"/>
                        </a:cubicBezTo>
                        <a:cubicBezTo>
                          <a:pt x="1892946" y="162422"/>
                          <a:pt x="1895255" y="211430"/>
                          <a:pt x="1907298" y="375655"/>
                        </a:cubicBezTo>
                        <a:cubicBezTo>
                          <a:pt x="1919341" y="539881"/>
                          <a:pt x="1890489" y="630358"/>
                          <a:pt x="1907298" y="766643"/>
                        </a:cubicBezTo>
                        <a:cubicBezTo>
                          <a:pt x="1694438" y="740270"/>
                          <a:pt x="1427292" y="762900"/>
                          <a:pt x="1290605" y="766643"/>
                        </a:cubicBezTo>
                        <a:cubicBezTo>
                          <a:pt x="1153918" y="770386"/>
                          <a:pt x="807159" y="785446"/>
                          <a:pt x="654839" y="766643"/>
                        </a:cubicBezTo>
                        <a:cubicBezTo>
                          <a:pt x="502519" y="747840"/>
                          <a:pt x="143629" y="764094"/>
                          <a:pt x="0" y="766643"/>
                        </a:cubicBezTo>
                        <a:cubicBezTo>
                          <a:pt x="10858" y="623982"/>
                          <a:pt x="12852" y="510172"/>
                          <a:pt x="0" y="406321"/>
                        </a:cubicBezTo>
                        <a:cubicBezTo>
                          <a:pt x="-12852" y="302470"/>
                          <a:pt x="-14743" y="146490"/>
                          <a:pt x="0" y="0"/>
                        </a:cubicBezTo>
                        <a:close/>
                      </a:path>
                      <a:path w="1907298" h="766643" stroke="0" extrusionOk="0">
                        <a:moveTo>
                          <a:pt x="0" y="0"/>
                        </a:moveTo>
                        <a:cubicBezTo>
                          <a:pt x="148445" y="16644"/>
                          <a:pt x="373943" y="11967"/>
                          <a:pt x="635766" y="0"/>
                        </a:cubicBezTo>
                        <a:cubicBezTo>
                          <a:pt x="897589" y="-11967"/>
                          <a:pt x="1057374" y="-30569"/>
                          <a:pt x="1290605" y="0"/>
                        </a:cubicBezTo>
                        <a:cubicBezTo>
                          <a:pt x="1523836" y="30569"/>
                          <a:pt x="1766600" y="-25502"/>
                          <a:pt x="1907298" y="0"/>
                        </a:cubicBezTo>
                        <a:cubicBezTo>
                          <a:pt x="1889311" y="96488"/>
                          <a:pt x="1924548" y="210939"/>
                          <a:pt x="1907298" y="383322"/>
                        </a:cubicBezTo>
                        <a:cubicBezTo>
                          <a:pt x="1890048" y="555705"/>
                          <a:pt x="1900719" y="677324"/>
                          <a:pt x="1907298" y="766643"/>
                        </a:cubicBezTo>
                        <a:cubicBezTo>
                          <a:pt x="1666155" y="756567"/>
                          <a:pt x="1445603" y="738798"/>
                          <a:pt x="1309678" y="766643"/>
                        </a:cubicBezTo>
                        <a:cubicBezTo>
                          <a:pt x="1173753" y="794488"/>
                          <a:pt x="816219" y="773421"/>
                          <a:pt x="635766" y="766643"/>
                        </a:cubicBezTo>
                        <a:cubicBezTo>
                          <a:pt x="455313" y="759865"/>
                          <a:pt x="253336" y="737848"/>
                          <a:pt x="0" y="766643"/>
                        </a:cubicBezTo>
                        <a:cubicBezTo>
                          <a:pt x="-2480" y="616186"/>
                          <a:pt x="-10982" y="524361"/>
                          <a:pt x="0" y="375655"/>
                        </a:cubicBezTo>
                        <a:cubicBezTo>
                          <a:pt x="10982" y="226949"/>
                          <a:pt x="3358" y="171330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Para Apoiar na Logística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400173E-5C61-4064-B0AE-068F9695ED4F}"/>
              </a:ext>
            </a:extLst>
          </p:cNvPr>
          <p:cNvSpPr/>
          <p:nvPr/>
        </p:nvSpPr>
        <p:spPr>
          <a:xfrm>
            <a:off x="10193826" y="1915861"/>
            <a:ext cx="1643288" cy="649582"/>
          </a:xfrm>
          <a:prstGeom prst="rect">
            <a:avLst/>
          </a:prstGeom>
          <a:solidFill>
            <a:srgbClr val="1CB8AD"/>
          </a:solidFill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3693150730">
                  <a:custGeom>
                    <a:avLst/>
                    <a:gdLst>
                      <a:gd name="connsiteX0" fmla="*/ 0 w 1907298"/>
                      <a:gd name="connsiteY0" fmla="*/ 0 h 766643"/>
                      <a:gd name="connsiteX1" fmla="*/ 635766 w 1907298"/>
                      <a:gd name="connsiteY1" fmla="*/ 0 h 766643"/>
                      <a:gd name="connsiteX2" fmla="*/ 1214313 w 1907298"/>
                      <a:gd name="connsiteY2" fmla="*/ 0 h 766643"/>
                      <a:gd name="connsiteX3" fmla="*/ 1907298 w 1907298"/>
                      <a:gd name="connsiteY3" fmla="*/ 0 h 766643"/>
                      <a:gd name="connsiteX4" fmla="*/ 1907298 w 1907298"/>
                      <a:gd name="connsiteY4" fmla="*/ 367989 h 766643"/>
                      <a:gd name="connsiteX5" fmla="*/ 1907298 w 1907298"/>
                      <a:gd name="connsiteY5" fmla="*/ 766643 h 766643"/>
                      <a:gd name="connsiteX6" fmla="*/ 1309678 w 1907298"/>
                      <a:gd name="connsiteY6" fmla="*/ 766643 h 766643"/>
                      <a:gd name="connsiteX7" fmla="*/ 712058 w 1907298"/>
                      <a:gd name="connsiteY7" fmla="*/ 766643 h 766643"/>
                      <a:gd name="connsiteX8" fmla="*/ 0 w 1907298"/>
                      <a:gd name="connsiteY8" fmla="*/ 766643 h 766643"/>
                      <a:gd name="connsiteX9" fmla="*/ 0 w 1907298"/>
                      <a:gd name="connsiteY9" fmla="*/ 383322 h 766643"/>
                      <a:gd name="connsiteX10" fmla="*/ 0 w 1907298"/>
                      <a:gd name="connsiteY10" fmla="*/ 0 h 7666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907298" h="766643" fill="none" extrusionOk="0">
                        <a:moveTo>
                          <a:pt x="0" y="0"/>
                        </a:moveTo>
                        <a:cubicBezTo>
                          <a:pt x="250418" y="23567"/>
                          <a:pt x="411101" y="17798"/>
                          <a:pt x="635766" y="0"/>
                        </a:cubicBezTo>
                        <a:cubicBezTo>
                          <a:pt x="860431" y="-17798"/>
                          <a:pt x="1087909" y="19272"/>
                          <a:pt x="1214313" y="0"/>
                        </a:cubicBezTo>
                        <a:cubicBezTo>
                          <a:pt x="1340717" y="-19272"/>
                          <a:pt x="1717712" y="6185"/>
                          <a:pt x="1907298" y="0"/>
                        </a:cubicBezTo>
                        <a:cubicBezTo>
                          <a:pt x="1921618" y="123504"/>
                          <a:pt x="1902744" y="217645"/>
                          <a:pt x="1907298" y="367989"/>
                        </a:cubicBezTo>
                        <a:cubicBezTo>
                          <a:pt x="1911852" y="518333"/>
                          <a:pt x="1918204" y="642506"/>
                          <a:pt x="1907298" y="766643"/>
                        </a:cubicBezTo>
                        <a:cubicBezTo>
                          <a:pt x="1770127" y="754784"/>
                          <a:pt x="1483069" y="771355"/>
                          <a:pt x="1309678" y="766643"/>
                        </a:cubicBezTo>
                        <a:cubicBezTo>
                          <a:pt x="1136287" y="761931"/>
                          <a:pt x="864342" y="790667"/>
                          <a:pt x="712058" y="766643"/>
                        </a:cubicBezTo>
                        <a:cubicBezTo>
                          <a:pt x="559774" y="742619"/>
                          <a:pt x="218475" y="783711"/>
                          <a:pt x="0" y="766643"/>
                        </a:cubicBezTo>
                        <a:cubicBezTo>
                          <a:pt x="17699" y="587183"/>
                          <a:pt x="4475" y="556312"/>
                          <a:pt x="0" y="383322"/>
                        </a:cubicBezTo>
                        <a:cubicBezTo>
                          <a:pt x="-4475" y="210332"/>
                          <a:pt x="17637" y="150089"/>
                          <a:pt x="0" y="0"/>
                        </a:cubicBezTo>
                        <a:close/>
                      </a:path>
                      <a:path w="1907298" h="766643" stroke="0" extrusionOk="0">
                        <a:moveTo>
                          <a:pt x="0" y="0"/>
                        </a:moveTo>
                        <a:cubicBezTo>
                          <a:pt x="296588" y="-17595"/>
                          <a:pt x="352032" y="-23074"/>
                          <a:pt x="597620" y="0"/>
                        </a:cubicBezTo>
                        <a:cubicBezTo>
                          <a:pt x="843208" y="23074"/>
                          <a:pt x="974966" y="4940"/>
                          <a:pt x="1214313" y="0"/>
                        </a:cubicBezTo>
                        <a:cubicBezTo>
                          <a:pt x="1453660" y="-4940"/>
                          <a:pt x="1671468" y="30441"/>
                          <a:pt x="1907298" y="0"/>
                        </a:cubicBezTo>
                        <a:cubicBezTo>
                          <a:pt x="1897287" y="130744"/>
                          <a:pt x="1925323" y="289228"/>
                          <a:pt x="1907298" y="390988"/>
                        </a:cubicBezTo>
                        <a:cubicBezTo>
                          <a:pt x="1889273" y="492748"/>
                          <a:pt x="1910543" y="660954"/>
                          <a:pt x="1907298" y="766643"/>
                        </a:cubicBezTo>
                        <a:cubicBezTo>
                          <a:pt x="1583277" y="799524"/>
                          <a:pt x="1483550" y="796338"/>
                          <a:pt x="1233386" y="766643"/>
                        </a:cubicBezTo>
                        <a:cubicBezTo>
                          <a:pt x="983222" y="736948"/>
                          <a:pt x="853065" y="778399"/>
                          <a:pt x="578547" y="766643"/>
                        </a:cubicBezTo>
                        <a:cubicBezTo>
                          <a:pt x="304029" y="754887"/>
                          <a:pt x="170238" y="767362"/>
                          <a:pt x="0" y="766643"/>
                        </a:cubicBezTo>
                        <a:cubicBezTo>
                          <a:pt x="16352" y="646361"/>
                          <a:pt x="-14176" y="549422"/>
                          <a:pt x="0" y="390988"/>
                        </a:cubicBezTo>
                        <a:cubicBezTo>
                          <a:pt x="14176" y="232554"/>
                          <a:pt x="19016" y="17732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Para Comunicar com os Clientes</a:t>
            </a:r>
          </a:p>
        </p:txBody>
      </p:sp>
      <p:sp>
        <p:nvSpPr>
          <p:cNvPr id="43" name="Rectangle 15">
            <a:extLst>
              <a:ext uri="{FF2B5EF4-FFF2-40B4-BE49-F238E27FC236}">
                <a16:creationId xmlns:a16="http://schemas.microsoft.com/office/drawing/2014/main" id="{BB20D60F-3592-4869-BEDB-53E091506825}"/>
              </a:ext>
            </a:extLst>
          </p:cNvPr>
          <p:cNvSpPr/>
          <p:nvPr/>
        </p:nvSpPr>
        <p:spPr>
          <a:xfrm>
            <a:off x="4060813" y="2725204"/>
            <a:ext cx="4154773" cy="1071296"/>
          </a:xfrm>
          <a:noFill/>
          <a:ln w="19050">
            <a:solidFill>
              <a:srgbClr val="DF0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 b="1" dirty="0">
                <a:latin typeface="Acto CTT Book" panose="00000500000000000000" pitchFamily="50" charset="0"/>
              </a:rPr>
              <a:t>Para Médias Empresas</a:t>
            </a:r>
          </a:p>
        </p:txBody>
      </p:sp>
      <p:sp>
        <p:nvSpPr>
          <p:cNvPr id="44" name="Rectangle 16">
            <a:extLst>
              <a:ext uri="{FF2B5EF4-FFF2-40B4-BE49-F238E27FC236}">
                <a16:creationId xmlns:a16="http://schemas.microsoft.com/office/drawing/2014/main" id="{7DAB6C7D-1D32-4ABA-8662-AD66FF05B82B}"/>
              </a:ext>
            </a:extLst>
          </p:cNvPr>
          <p:cNvSpPr/>
          <p:nvPr/>
        </p:nvSpPr>
        <p:spPr>
          <a:xfrm>
            <a:off x="4060813" y="3894618"/>
            <a:ext cx="4154773" cy="1071296"/>
          </a:xfrm>
          <a:noFill/>
          <a:ln w="19050">
            <a:solidFill>
              <a:srgbClr val="DF0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 b="1" dirty="0">
                <a:latin typeface="Acto CTT Book" panose="00000500000000000000" pitchFamily="50" charset="0"/>
              </a:rPr>
              <a:t>Para Pequenas Empresas</a:t>
            </a:r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91A9B904-1C33-49C2-8436-ECE74A2D639D}"/>
              </a:ext>
            </a:extLst>
          </p:cNvPr>
          <p:cNvSpPr/>
          <p:nvPr/>
        </p:nvSpPr>
        <p:spPr>
          <a:xfrm>
            <a:off x="4060813" y="5064032"/>
            <a:ext cx="4154773" cy="1071296"/>
          </a:xfrm>
          <a:noFill/>
          <a:ln w="19050">
            <a:solidFill>
              <a:srgbClr val="DF0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 b="1" dirty="0">
                <a:latin typeface="Acto CTT Book" panose="00000500000000000000" pitchFamily="50" charset="0"/>
              </a:rPr>
              <a:t>Para o Comércio Loca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6744AD4-FA0A-4EA0-A84A-A0B0DD9F759A}"/>
              </a:ext>
            </a:extLst>
          </p:cNvPr>
          <p:cNvSpPr/>
          <p:nvPr/>
        </p:nvSpPr>
        <p:spPr>
          <a:xfrm>
            <a:off x="8372599" y="2720631"/>
            <a:ext cx="1643288" cy="3414697"/>
          </a:xfrm>
          <a:prstGeom prst="rect">
            <a:avLst/>
          </a:prstGeom>
          <a:noFill/>
          <a:ln w="19050">
            <a:solidFill>
              <a:srgbClr val="1CB8AD"/>
            </a:solidFill>
            <a:extLst>
              <a:ext uri="{C807C97D-BFC1-408E-A445-0C87EB9F89A2}">
                <ask:lineSketchStyleProps xmlns:ask="http://schemas.microsoft.com/office/drawing/2018/sketchyshapes" sd="3723532801">
                  <a:custGeom>
                    <a:avLst/>
                    <a:gdLst>
                      <a:gd name="connsiteX0" fmla="*/ 0 w 1907298"/>
                      <a:gd name="connsiteY0" fmla="*/ 0 h 4030056"/>
                      <a:gd name="connsiteX1" fmla="*/ 616693 w 1907298"/>
                      <a:gd name="connsiteY1" fmla="*/ 0 h 4030056"/>
                      <a:gd name="connsiteX2" fmla="*/ 1252459 w 1907298"/>
                      <a:gd name="connsiteY2" fmla="*/ 0 h 4030056"/>
                      <a:gd name="connsiteX3" fmla="*/ 1907298 w 1907298"/>
                      <a:gd name="connsiteY3" fmla="*/ 0 h 4030056"/>
                      <a:gd name="connsiteX4" fmla="*/ 1907298 w 1907298"/>
                      <a:gd name="connsiteY4" fmla="*/ 711977 h 4030056"/>
                      <a:gd name="connsiteX5" fmla="*/ 1907298 w 1907298"/>
                      <a:gd name="connsiteY5" fmla="*/ 1343352 h 4030056"/>
                      <a:gd name="connsiteX6" fmla="*/ 1907298 w 1907298"/>
                      <a:gd name="connsiteY6" fmla="*/ 1974727 h 4030056"/>
                      <a:gd name="connsiteX7" fmla="*/ 1907298 w 1907298"/>
                      <a:gd name="connsiteY7" fmla="*/ 2565802 h 4030056"/>
                      <a:gd name="connsiteX8" fmla="*/ 1907298 w 1907298"/>
                      <a:gd name="connsiteY8" fmla="*/ 3116577 h 4030056"/>
                      <a:gd name="connsiteX9" fmla="*/ 1907298 w 1907298"/>
                      <a:gd name="connsiteY9" fmla="*/ 4030056 h 4030056"/>
                      <a:gd name="connsiteX10" fmla="*/ 1290605 w 1907298"/>
                      <a:gd name="connsiteY10" fmla="*/ 4030056 h 4030056"/>
                      <a:gd name="connsiteX11" fmla="*/ 616693 w 1907298"/>
                      <a:gd name="connsiteY11" fmla="*/ 4030056 h 4030056"/>
                      <a:gd name="connsiteX12" fmla="*/ 0 w 1907298"/>
                      <a:gd name="connsiteY12" fmla="*/ 4030056 h 4030056"/>
                      <a:gd name="connsiteX13" fmla="*/ 0 w 1907298"/>
                      <a:gd name="connsiteY13" fmla="*/ 3438981 h 4030056"/>
                      <a:gd name="connsiteX14" fmla="*/ 0 w 1907298"/>
                      <a:gd name="connsiteY14" fmla="*/ 2767305 h 4030056"/>
                      <a:gd name="connsiteX15" fmla="*/ 0 w 1907298"/>
                      <a:gd name="connsiteY15" fmla="*/ 2055329 h 4030056"/>
                      <a:gd name="connsiteX16" fmla="*/ 0 w 1907298"/>
                      <a:gd name="connsiteY16" fmla="*/ 1423953 h 4030056"/>
                      <a:gd name="connsiteX17" fmla="*/ 0 w 1907298"/>
                      <a:gd name="connsiteY17" fmla="*/ 832878 h 4030056"/>
                      <a:gd name="connsiteX18" fmla="*/ 0 w 1907298"/>
                      <a:gd name="connsiteY18" fmla="*/ 0 h 4030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907298" h="4030056" extrusionOk="0">
                        <a:moveTo>
                          <a:pt x="0" y="0"/>
                        </a:moveTo>
                        <a:cubicBezTo>
                          <a:pt x="272080" y="-26242"/>
                          <a:pt x="471712" y="-305"/>
                          <a:pt x="616693" y="0"/>
                        </a:cubicBezTo>
                        <a:cubicBezTo>
                          <a:pt x="761674" y="305"/>
                          <a:pt x="1113531" y="-25595"/>
                          <a:pt x="1252459" y="0"/>
                        </a:cubicBezTo>
                        <a:cubicBezTo>
                          <a:pt x="1391387" y="25595"/>
                          <a:pt x="1751649" y="16444"/>
                          <a:pt x="1907298" y="0"/>
                        </a:cubicBezTo>
                        <a:cubicBezTo>
                          <a:pt x="1873918" y="347096"/>
                          <a:pt x="1879725" y="439888"/>
                          <a:pt x="1907298" y="711977"/>
                        </a:cubicBezTo>
                        <a:cubicBezTo>
                          <a:pt x="1934871" y="984066"/>
                          <a:pt x="1901207" y="1123335"/>
                          <a:pt x="1907298" y="1343352"/>
                        </a:cubicBezTo>
                        <a:cubicBezTo>
                          <a:pt x="1913389" y="1563369"/>
                          <a:pt x="1891018" y="1706302"/>
                          <a:pt x="1907298" y="1974727"/>
                        </a:cubicBezTo>
                        <a:cubicBezTo>
                          <a:pt x="1923578" y="2243152"/>
                          <a:pt x="1887875" y="2347814"/>
                          <a:pt x="1907298" y="2565802"/>
                        </a:cubicBezTo>
                        <a:cubicBezTo>
                          <a:pt x="1926721" y="2783790"/>
                          <a:pt x="1886629" y="2862427"/>
                          <a:pt x="1907298" y="3116577"/>
                        </a:cubicBezTo>
                        <a:cubicBezTo>
                          <a:pt x="1927967" y="3370727"/>
                          <a:pt x="1923347" y="3743626"/>
                          <a:pt x="1907298" y="4030056"/>
                        </a:cubicBezTo>
                        <a:cubicBezTo>
                          <a:pt x="1696504" y="4038497"/>
                          <a:pt x="1577900" y="4009743"/>
                          <a:pt x="1290605" y="4030056"/>
                        </a:cubicBezTo>
                        <a:cubicBezTo>
                          <a:pt x="1003310" y="4050369"/>
                          <a:pt x="948120" y="4007929"/>
                          <a:pt x="616693" y="4030056"/>
                        </a:cubicBezTo>
                        <a:cubicBezTo>
                          <a:pt x="285266" y="4052183"/>
                          <a:pt x="273206" y="3999739"/>
                          <a:pt x="0" y="4030056"/>
                        </a:cubicBezTo>
                        <a:cubicBezTo>
                          <a:pt x="-98" y="3775219"/>
                          <a:pt x="10120" y="3631277"/>
                          <a:pt x="0" y="3438981"/>
                        </a:cubicBezTo>
                        <a:cubicBezTo>
                          <a:pt x="-10120" y="3246685"/>
                          <a:pt x="22565" y="3093135"/>
                          <a:pt x="0" y="2767305"/>
                        </a:cubicBezTo>
                        <a:cubicBezTo>
                          <a:pt x="-22565" y="2441475"/>
                          <a:pt x="-14541" y="2366822"/>
                          <a:pt x="0" y="2055329"/>
                        </a:cubicBezTo>
                        <a:cubicBezTo>
                          <a:pt x="14541" y="1743836"/>
                          <a:pt x="28999" y="1665521"/>
                          <a:pt x="0" y="1423953"/>
                        </a:cubicBezTo>
                        <a:cubicBezTo>
                          <a:pt x="-28999" y="1182385"/>
                          <a:pt x="5656" y="978772"/>
                          <a:pt x="0" y="832878"/>
                        </a:cubicBezTo>
                        <a:cubicBezTo>
                          <a:pt x="-5656" y="686984"/>
                          <a:pt x="-41205" y="311291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b="1" dirty="0">
                <a:latin typeface="Acto CTT Book" panose="00000500000000000000" pitchFamily="50" charset="0"/>
              </a:rPr>
              <a:t>Para apoiar na Logística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3FD1586-61C0-46C3-BB1C-2C13DA44182E}"/>
              </a:ext>
            </a:extLst>
          </p:cNvPr>
          <p:cNvSpPr/>
          <p:nvPr/>
        </p:nvSpPr>
        <p:spPr>
          <a:xfrm>
            <a:off x="10193826" y="2720631"/>
            <a:ext cx="1643288" cy="3414697"/>
          </a:xfrm>
          <a:prstGeom prst="rect">
            <a:avLst/>
          </a:prstGeom>
          <a:noFill/>
          <a:ln w="19050">
            <a:solidFill>
              <a:srgbClr val="1CB8AD"/>
            </a:solidFill>
            <a:extLst>
              <a:ext uri="{C807C97D-BFC1-408E-A445-0C87EB9F89A2}">
                <ask:lineSketchStyleProps xmlns:ask="http://schemas.microsoft.com/office/drawing/2018/sketchyshapes" sd="3594160999">
                  <a:custGeom>
                    <a:avLst/>
                    <a:gdLst>
                      <a:gd name="connsiteX0" fmla="*/ 0 w 1907298"/>
                      <a:gd name="connsiteY0" fmla="*/ 0 h 4030056"/>
                      <a:gd name="connsiteX1" fmla="*/ 654839 w 1907298"/>
                      <a:gd name="connsiteY1" fmla="*/ 0 h 4030056"/>
                      <a:gd name="connsiteX2" fmla="*/ 1271532 w 1907298"/>
                      <a:gd name="connsiteY2" fmla="*/ 0 h 4030056"/>
                      <a:gd name="connsiteX3" fmla="*/ 1907298 w 1907298"/>
                      <a:gd name="connsiteY3" fmla="*/ 0 h 4030056"/>
                      <a:gd name="connsiteX4" fmla="*/ 1907298 w 1907298"/>
                      <a:gd name="connsiteY4" fmla="*/ 631375 h 4030056"/>
                      <a:gd name="connsiteX5" fmla="*/ 1907298 w 1907298"/>
                      <a:gd name="connsiteY5" fmla="*/ 1222450 h 4030056"/>
                      <a:gd name="connsiteX6" fmla="*/ 1907298 w 1907298"/>
                      <a:gd name="connsiteY6" fmla="*/ 1813525 h 4030056"/>
                      <a:gd name="connsiteX7" fmla="*/ 1907298 w 1907298"/>
                      <a:gd name="connsiteY7" fmla="*/ 2404600 h 4030056"/>
                      <a:gd name="connsiteX8" fmla="*/ 1907298 w 1907298"/>
                      <a:gd name="connsiteY8" fmla="*/ 2995675 h 4030056"/>
                      <a:gd name="connsiteX9" fmla="*/ 1907298 w 1907298"/>
                      <a:gd name="connsiteY9" fmla="*/ 4030056 h 4030056"/>
                      <a:gd name="connsiteX10" fmla="*/ 1233386 w 1907298"/>
                      <a:gd name="connsiteY10" fmla="*/ 4030056 h 4030056"/>
                      <a:gd name="connsiteX11" fmla="*/ 578547 w 1907298"/>
                      <a:gd name="connsiteY11" fmla="*/ 4030056 h 4030056"/>
                      <a:gd name="connsiteX12" fmla="*/ 0 w 1907298"/>
                      <a:gd name="connsiteY12" fmla="*/ 4030056 h 4030056"/>
                      <a:gd name="connsiteX13" fmla="*/ 0 w 1907298"/>
                      <a:gd name="connsiteY13" fmla="*/ 3318079 h 4030056"/>
                      <a:gd name="connsiteX14" fmla="*/ 0 w 1907298"/>
                      <a:gd name="connsiteY14" fmla="*/ 2646403 h 4030056"/>
                      <a:gd name="connsiteX15" fmla="*/ 0 w 1907298"/>
                      <a:gd name="connsiteY15" fmla="*/ 2055329 h 4030056"/>
                      <a:gd name="connsiteX16" fmla="*/ 0 w 1907298"/>
                      <a:gd name="connsiteY16" fmla="*/ 1343352 h 4030056"/>
                      <a:gd name="connsiteX17" fmla="*/ 0 w 1907298"/>
                      <a:gd name="connsiteY17" fmla="*/ 752277 h 4030056"/>
                      <a:gd name="connsiteX18" fmla="*/ 0 w 1907298"/>
                      <a:gd name="connsiteY18" fmla="*/ 0 h 4030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907298" h="4030056" extrusionOk="0">
                        <a:moveTo>
                          <a:pt x="0" y="0"/>
                        </a:moveTo>
                        <a:cubicBezTo>
                          <a:pt x="213364" y="-28366"/>
                          <a:pt x="361837" y="-8495"/>
                          <a:pt x="654839" y="0"/>
                        </a:cubicBezTo>
                        <a:cubicBezTo>
                          <a:pt x="947841" y="8495"/>
                          <a:pt x="984872" y="18792"/>
                          <a:pt x="1271532" y="0"/>
                        </a:cubicBezTo>
                        <a:cubicBezTo>
                          <a:pt x="1558192" y="-18792"/>
                          <a:pt x="1666128" y="-14046"/>
                          <a:pt x="1907298" y="0"/>
                        </a:cubicBezTo>
                        <a:cubicBezTo>
                          <a:pt x="1934826" y="162001"/>
                          <a:pt x="1915716" y="398764"/>
                          <a:pt x="1907298" y="631375"/>
                        </a:cubicBezTo>
                        <a:cubicBezTo>
                          <a:pt x="1898880" y="863987"/>
                          <a:pt x="1934898" y="953489"/>
                          <a:pt x="1907298" y="1222450"/>
                        </a:cubicBezTo>
                        <a:cubicBezTo>
                          <a:pt x="1879698" y="1491412"/>
                          <a:pt x="1890334" y="1585061"/>
                          <a:pt x="1907298" y="1813525"/>
                        </a:cubicBezTo>
                        <a:cubicBezTo>
                          <a:pt x="1924262" y="2041990"/>
                          <a:pt x="1917363" y="2197088"/>
                          <a:pt x="1907298" y="2404600"/>
                        </a:cubicBezTo>
                        <a:cubicBezTo>
                          <a:pt x="1897233" y="2612112"/>
                          <a:pt x="1917216" y="2724489"/>
                          <a:pt x="1907298" y="2995675"/>
                        </a:cubicBezTo>
                        <a:cubicBezTo>
                          <a:pt x="1897380" y="3266861"/>
                          <a:pt x="1869253" y="3663381"/>
                          <a:pt x="1907298" y="4030056"/>
                        </a:cubicBezTo>
                        <a:cubicBezTo>
                          <a:pt x="1735231" y="4052063"/>
                          <a:pt x="1424570" y="4045868"/>
                          <a:pt x="1233386" y="4030056"/>
                        </a:cubicBezTo>
                        <a:cubicBezTo>
                          <a:pt x="1042202" y="4014244"/>
                          <a:pt x="724897" y="4025378"/>
                          <a:pt x="578547" y="4030056"/>
                        </a:cubicBezTo>
                        <a:cubicBezTo>
                          <a:pt x="432197" y="4034734"/>
                          <a:pt x="139642" y="4055258"/>
                          <a:pt x="0" y="4030056"/>
                        </a:cubicBezTo>
                        <a:cubicBezTo>
                          <a:pt x="27347" y="3885045"/>
                          <a:pt x="-628" y="3641941"/>
                          <a:pt x="0" y="3318079"/>
                        </a:cubicBezTo>
                        <a:cubicBezTo>
                          <a:pt x="628" y="2994217"/>
                          <a:pt x="26322" y="2840659"/>
                          <a:pt x="0" y="2646403"/>
                        </a:cubicBezTo>
                        <a:cubicBezTo>
                          <a:pt x="-26322" y="2452147"/>
                          <a:pt x="-25529" y="2235317"/>
                          <a:pt x="0" y="2055329"/>
                        </a:cubicBezTo>
                        <a:cubicBezTo>
                          <a:pt x="25529" y="1875341"/>
                          <a:pt x="25444" y="1594419"/>
                          <a:pt x="0" y="1343352"/>
                        </a:cubicBezTo>
                        <a:cubicBezTo>
                          <a:pt x="-25444" y="1092285"/>
                          <a:pt x="-9355" y="949810"/>
                          <a:pt x="0" y="752277"/>
                        </a:cubicBezTo>
                        <a:cubicBezTo>
                          <a:pt x="9355" y="554744"/>
                          <a:pt x="-13924" y="305133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b="1" dirty="0">
                <a:latin typeface="Acto CTT Book" panose="00000500000000000000" pitchFamily="50" charset="0"/>
              </a:rPr>
              <a:t>Para apoiar na Logística</a:t>
            </a:r>
          </a:p>
        </p:txBody>
      </p:sp>
      <p:pic>
        <p:nvPicPr>
          <p:cNvPr id="48" name="Picture 4" descr="Dott.pt — O maior shopping online de Portugal">
            <a:extLst>
              <a:ext uri="{FF2B5EF4-FFF2-40B4-BE49-F238E27FC236}">
                <a16:creationId xmlns:a16="http://schemas.microsoft.com/office/drawing/2014/main" id="{114D3A3E-C7E6-4ED2-9EDE-8F51AF659D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87" b="19518"/>
          <a:stretch/>
        </p:blipFill>
        <p:spPr bwMode="auto">
          <a:xfrm>
            <a:off x="5208993" y="2824954"/>
            <a:ext cx="1402243" cy="81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 descr="A picture containing drawing&#10;&#10;Description automatically generated">
            <a:extLst>
              <a:ext uri="{FF2B5EF4-FFF2-40B4-BE49-F238E27FC236}">
                <a16:creationId xmlns:a16="http://schemas.microsoft.com/office/drawing/2014/main" id="{7C3C69AE-C138-4509-B3E2-E16F914D4EA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16" b="25702"/>
          <a:stretch/>
        </p:blipFill>
        <p:spPr>
          <a:xfrm>
            <a:off x="4244263" y="4146147"/>
            <a:ext cx="1485039" cy="563664"/>
          </a:xfrm>
          <a:prstGeom prst="rect">
            <a:avLst/>
          </a:prstGeom>
        </p:spPr>
      </p:pic>
      <p:pic>
        <p:nvPicPr>
          <p:cNvPr id="50" name="Picture 49" descr="A picture containing drawing&#10;&#10;Description automatically generated">
            <a:extLst>
              <a:ext uri="{FF2B5EF4-FFF2-40B4-BE49-F238E27FC236}">
                <a16:creationId xmlns:a16="http://schemas.microsoft.com/office/drawing/2014/main" id="{C942A065-610D-433C-A955-FD11D77E557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16" b="25702"/>
          <a:stretch/>
        </p:blipFill>
        <p:spPr>
          <a:xfrm>
            <a:off x="4244263" y="5317847"/>
            <a:ext cx="1485039" cy="563664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78B35333-C3CB-44C1-9B01-39E70D6EA124}"/>
              </a:ext>
            </a:extLst>
          </p:cNvPr>
          <p:cNvSpPr/>
          <p:nvPr/>
        </p:nvSpPr>
        <p:spPr>
          <a:xfrm>
            <a:off x="5437713" y="4427979"/>
            <a:ext cx="2526415" cy="3073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PT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ar Lojas Onlin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AAA8D13-C533-4E61-AE1A-AA538851C268}"/>
              </a:ext>
            </a:extLst>
          </p:cNvPr>
          <p:cNvSpPr/>
          <p:nvPr/>
        </p:nvSpPr>
        <p:spPr>
          <a:xfrm>
            <a:off x="5437713" y="5616706"/>
            <a:ext cx="2259595" cy="281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PT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ércio Local</a:t>
            </a:r>
          </a:p>
        </p:txBody>
      </p:sp>
      <p:pic>
        <p:nvPicPr>
          <p:cNvPr id="53" name="Picture 5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36923C1-866D-4E9F-BF2E-37D7DD03249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16" b="25702"/>
          <a:stretch/>
        </p:blipFill>
        <p:spPr>
          <a:xfrm>
            <a:off x="8313491" y="3864315"/>
            <a:ext cx="1485039" cy="563664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F54F096C-4CAE-4298-BD07-2A6E46BF4D86}"/>
              </a:ext>
            </a:extLst>
          </p:cNvPr>
          <p:cNvSpPr/>
          <p:nvPr/>
        </p:nvSpPr>
        <p:spPr>
          <a:xfrm>
            <a:off x="8578397" y="4602949"/>
            <a:ext cx="1694642" cy="281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PT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ística </a:t>
            </a:r>
            <a:br>
              <a:rPr lang="pt-PT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PMEs</a:t>
            </a:r>
          </a:p>
        </p:txBody>
      </p:sp>
      <p:pic>
        <p:nvPicPr>
          <p:cNvPr id="55" name="Picture 54" descr="A picture containing drawing&#10;&#10;Description automatically generated">
            <a:extLst>
              <a:ext uri="{FF2B5EF4-FFF2-40B4-BE49-F238E27FC236}">
                <a16:creationId xmlns:a16="http://schemas.microsoft.com/office/drawing/2014/main" id="{770493EC-8118-44B2-ACD0-89D11F01ED1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16" b="25702"/>
          <a:stretch/>
        </p:blipFill>
        <p:spPr>
          <a:xfrm>
            <a:off x="10134128" y="3864315"/>
            <a:ext cx="1485039" cy="563664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62995E6-C7EB-4D0B-8433-A0344A3922A8}"/>
              </a:ext>
            </a:extLst>
          </p:cNvPr>
          <p:cNvSpPr/>
          <p:nvPr/>
        </p:nvSpPr>
        <p:spPr>
          <a:xfrm>
            <a:off x="10399033" y="4602949"/>
            <a:ext cx="1694642" cy="281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PT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idade </a:t>
            </a:r>
            <a:br>
              <a:rPr lang="pt-PT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PM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5C7C66-CF88-4AFA-86F2-AEF6D5CB04C2}"/>
              </a:ext>
            </a:extLst>
          </p:cNvPr>
          <p:cNvSpPr/>
          <p:nvPr/>
        </p:nvSpPr>
        <p:spPr>
          <a:xfrm>
            <a:off x="2625213" y="1922921"/>
            <a:ext cx="5590373" cy="637964"/>
          </a:xfrm>
          <a:prstGeom prst="rect">
            <a:avLst/>
          </a:prstGeom>
          <a:solidFill>
            <a:srgbClr val="DF00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Para Vender Onlin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5CE236-9DF0-46B7-AB33-7FE4F18FBA6D}"/>
              </a:ext>
            </a:extLst>
          </p:cNvPr>
          <p:cNvSpPr/>
          <p:nvPr/>
        </p:nvSpPr>
        <p:spPr>
          <a:xfrm>
            <a:off x="2617410" y="2676951"/>
            <a:ext cx="1325161" cy="1071296"/>
          </a:xfrm>
          <a:prstGeom prst="rect">
            <a:avLst/>
          </a:prstGeom>
          <a:solidFill>
            <a:srgbClr val="DF00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Para</a:t>
            </a:r>
          </a:p>
          <a:p>
            <a:pPr algn="ctr"/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Médias Empresa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4105E4-74E1-4D36-8B92-4943E9D785A8}"/>
              </a:ext>
            </a:extLst>
          </p:cNvPr>
          <p:cNvSpPr/>
          <p:nvPr/>
        </p:nvSpPr>
        <p:spPr>
          <a:xfrm>
            <a:off x="2625213" y="3864314"/>
            <a:ext cx="1325161" cy="1071296"/>
          </a:xfrm>
          <a:prstGeom prst="rect">
            <a:avLst/>
          </a:prstGeom>
          <a:solidFill>
            <a:srgbClr val="DF00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Para</a:t>
            </a:r>
          </a:p>
          <a:p>
            <a:pPr algn="ctr"/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Pequenas Empresa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646E79-58FE-4C83-9CFD-1838BBF6A81F}"/>
              </a:ext>
            </a:extLst>
          </p:cNvPr>
          <p:cNvSpPr/>
          <p:nvPr/>
        </p:nvSpPr>
        <p:spPr>
          <a:xfrm>
            <a:off x="2625213" y="5081058"/>
            <a:ext cx="1325161" cy="1071296"/>
          </a:xfrm>
          <a:prstGeom prst="rect">
            <a:avLst/>
          </a:prstGeom>
          <a:solidFill>
            <a:srgbClr val="DF00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Para o</a:t>
            </a:r>
          </a:p>
          <a:p>
            <a:pPr algn="ctr"/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Comércio Local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38A71BF3-1268-425C-9C2A-298A635D2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2666" y="6354466"/>
            <a:ext cx="3256722" cy="365125"/>
          </a:xfrm>
        </p:spPr>
        <p:txBody>
          <a:bodyPr/>
          <a:lstStyle/>
          <a:p>
            <a:pPr algn="r"/>
            <a:fld id="{3D8B869F-89A9-CB47-B2D6-80F8E9D3668B}" type="slidenum">
              <a:rPr lang="pt-PT" sz="1200" b="0" smtClean="0"/>
              <a:pPr algn="r"/>
              <a:t>2</a:t>
            </a:fld>
            <a:endParaRPr lang="pt-PT" sz="1200" b="0" dirty="0"/>
          </a:p>
        </p:txBody>
      </p:sp>
    </p:spTree>
    <p:extLst>
      <p:ext uri="{BB962C8B-B14F-4D97-AF65-F5344CB8AC3E}">
        <p14:creationId xmlns:p14="http://schemas.microsoft.com/office/powerpoint/2010/main" val="4265836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37B0CA-77E5-433E-B71B-C78BFC7BA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37B0CA-77E5-433E-B71B-C78BFC7BA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14535344-989C-4D63-AF95-C06F1DB6C628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4EF96D-0517-4EF3-80EB-71257B997048}"/>
              </a:ext>
            </a:extLst>
          </p:cNvPr>
          <p:cNvSpPr txBox="1"/>
          <p:nvPr/>
        </p:nvSpPr>
        <p:spPr>
          <a:xfrm>
            <a:off x="304241" y="411906"/>
            <a:ext cx="26762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ÃO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5E4172-729E-427F-BC93-BEEEC2F98E17}"/>
              </a:ext>
            </a:extLst>
          </p:cNvPr>
          <p:cNvSpPr txBox="1"/>
          <p:nvPr/>
        </p:nvSpPr>
        <p:spPr>
          <a:xfrm>
            <a:off x="304241" y="1038418"/>
            <a:ext cx="21172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judar e apoiar as empresas e os comerciantes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239EAB-FF45-4CA8-8C71-CBD68A05878A}"/>
              </a:ext>
            </a:extLst>
          </p:cNvPr>
          <p:cNvSpPr/>
          <p:nvPr/>
        </p:nvSpPr>
        <p:spPr>
          <a:xfrm>
            <a:off x="3713332" y="503534"/>
            <a:ext cx="7361068" cy="914866"/>
          </a:xfrm>
          <a:prstGeom prst="rect">
            <a:avLst/>
          </a:prstGeom>
        </p:spPr>
        <p:txBody>
          <a:bodyPr wrap="square" lIns="36000" rIns="72000">
            <a:spAutoFit/>
          </a:bodyPr>
          <a:lstStyle/>
          <a:p>
            <a:pPr>
              <a:lnSpc>
                <a:spcPts val="2200"/>
              </a:lnSpc>
              <a:spcAft>
                <a:spcPts val="600"/>
              </a:spcAft>
            </a:pPr>
            <a:r>
              <a:rPr lang="pt-PT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economia não pode parar, os CTT apresentam um conjunto de soluções digitais para apoiar os municípios e as empresas locais na divulgação das potencialidades locais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589829A-4507-4CE8-9395-D834E148C32B}"/>
              </a:ext>
            </a:extLst>
          </p:cNvPr>
          <p:cNvSpPr/>
          <p:nvPr/>
        </p:nvSpPr>
        <p:spPr>
          <a:xfrm>
            <a:off x="4829640" y="2337641"/>
            <a:ext cx="2197484" cy="3393156"/>
          </a:xfrm>
          <a:prstGeom prst="rect">
            <a:avLst/>
          </a:prstGeom>
          <a:solidFill>
            <a:srgbClr val="E7F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1BA937C-B43D-4B50-9102-7CB5CA013613}"/>
              </a:ext>
            </a:extLst>
          </p:cNvPr>
          <p:cNvSpPr/>
          <p:nvPr/>
        </p:nvSpPr>
        <p:spPr>
          <a:xfrm>
            <a:off x="4829640" y="2163332"/>
            <a:ext cx="2197484" cy="685336"/>
          </a:xfrm>
          <a:prstGeom prst="rect">
            <a:avLst/>
          </a:prstGeom>
          <a:solidFill>
            <a:srgbClr val="00BEB4"/>
          </a:solidFill>
          <a:ln>
            <a:solidFill>
              <a:srgbClr val="00BEB4"/>
            </a:solidFill>
          </a:ln>
        </p:spPr>
        <p:txBody>
          <a:bodyPr rot="0" spcFirstLastPara="0" vertOverflow="overflow" horzOverflow="overflow" vert="horz" wrap="square" lIns="87086" tIns="43543" rIns="87086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pt-PT" sz="1524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iras e Showroom Digitai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52B2C7F-328E-4476-AE9E-DF748627040E}"/>
              </a:ext>
            </a:extLst>
          </p:cNvPr>
          <p:cNvSpPr/>
          <p:nvPr/>
        </p:nvSpPr>
        <p:spPr>
          <a:xfrm>
            <a:off x="4829639" y="4423673"/>
            <a:ext cx="2197484" cy="18694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0F6DA"/>
            </a:solidFill>
          </a:ln>
        </p:spPr>
        <p:txBody>
          <a:bodyPr rot="0" spcFirstLastPara="0" vertOverflow="overflow" horzOverflow="overflow" vert="horz" wrap="square" lIns="87086" tIns="43543" rIns="87086" bIns="4354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pt-PT" sz="1200" dirty="0">
                <a:latin typeface="Arial" panose="020B0604020202020204" pitchFamily="34" charset="0"/>
                <a:cs typeface="Arial" panose="020B0604020202020204" pitchFamily="34" charset="0"/>
              </a:rPr>
              <a:t>Feiras e showrooms online que possibilitam aos produtores e expositores de feira o posicionamento dos seus produtos no Marketplace </a:t>
            </a:r>
            <a:r>
              <a:rPr lang="pt-PT" sz="1200" dirty="0" err="1">
                <a:latin typeface="Arial" panose="020B0604020202020204" pitchFamily="34" charset="0"/>
                <a:cs typeface="Arial" panose="020B0604020202020204" pitchFamily="34" charset="0"/>
              </a:rPr>
              <a:t>Dott</a:t>
            </a:r>
            <a:r>
              <a:rPr lang="pt-PT" sz="1200" dirty="0">
                <a:latin typeface="Arial" panose="020B0604020202020204" pitchFamily="34" charset="0"/>
                <a:cs typeface="Arial" panose="020B0604020202020204" pitchFamily="34" charset="0"/>
              </a:rPr>
              <a:t>, assegurando a sua promoção e escoamento de forma direta para o consumidor final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01584DC-4903-4F19-B775-949AD1DDF3AB}"/>
              </a:ext>
            </a:extLst>
          </p:cNvPr>
          <p:cNvSpPr/>
          <p:nvPr/>
        </p:nvSpPr>
        <p:spPr>
          <a:xfrm>
            <a:off x="9701913" y="2346009"/>
            <a:ext cx="2197484" cy="3393156"/>
          </a:xfrm>
          <a:prstGeom prst="rect">
            <a:avLst/>
          </a:prstGeom>
          <a:solidFill>
            <a:srgbClr val="E7F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C66E2AE-949F-49E3-A661-5A53D3BBFD1E}"/>
              </a:ext>
            </a:extLst>
          </p:cNvPr>
          <p:cNvSpPr/>
          <p:nvPr/>
        </p:nvSpPr>
        <p:spPr>
          <a:xfrm>
            <a:off x="9701913" y="2171700"/>
            <a:ext cx="2197484" cy="685336"/>
          </a:xfrm>
          <a:prstGeom prst="rect">
            <a:avLst/>
          </a:prstGeom>
          <a:solidFill>
            <a:srgbClr val="00BEB4"/>
          </a:solidFill>
          <a:ln>
            <a:solidFill>
              <a:srgbClr val="00BEB4"/>
            </a:solidFill>
          </a:ln>
        </p:spPr>
        <p:txBody>
          <a:bodyPr rot="0" spcFirstLastPara="0" vertOverflow="overflow" horzOverflow="overflow" vert="horz" wrap="square" lIns="87086" tIns="43543" rIns="87086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pt-PT" sz="1524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ções de Publicidad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BD5B1F9-8312-4686-AD7F-AD4A43765EAA}"/>
              </a:ext>
            </a:extLst>
          </p:cNvPr>
          <p:cNvSpPr/>
          <p:nvPr/>
        </p:nvSpPr>
        <p:spPr>
          <a:xfrm>
            <a:off x="9701904" y="4432041"/>
            <a:ext cx="2197484" cy="18694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0F6DA"/>
            </a:solidFill>
          </a:ln>
        </p:spPr>
        <p:txBody>
          <a:bodyPr rot="0" spcFirstLastPara="0" vertOverflow="overflow" horzOverflow="overflow" vert="horz" wrap="square" lIns="87086" tIns="43543" rIns="87086" bIns="4354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pt-PT" sz="1200" dirty="0">
                <a:latin typeface="Arial" panose="020B0604020202020204" pitchFamily="34" charset="0"/>
                <a:cs typeface="Arial" panose="020B0604020202020204" pitchFamily="34" charset="0"/>
              </a:rPr>
              <a:t>Soluções de publicidade para divulgação das potencialidades locais desde o processo de criatividade até à produção e envio através de correio publicitário, email e </a:t>
            </a:r>
            <a:r>
              <a:rPr lang="pt-PT" sz="1200" dirty="0" err="1">
                <a:latin typeface="Arial" panose="020B0604020202020204" pitchFamily="34" charset="0"/>
                <a:cs typeface="Arial" panose="020B0604020202020204" pitchFamily="34" charset="0"/>
              </a:rPr>
              <a:t>sms</a:t>
            </a:r>
            <a:r>
              <a:rPr lang="pt-PT" sz="1200" dirty="0">
                <a:latin typeface="Arial" panose="020B0604020202020204" pitchFamily="34" charset="0"/>
                <a:cs typeface="Arial" panose="020B0604020202020204" pitchFamily="34" charset="0"/>
              </a:rPr>
              <a:t> marketing.</a:t>
            </a:r>
          </a:p>
        </p:txBody>
      </p:sp>
      <p:pic>
        <p:nvPicPr>
          <p:cNvPr id="34" name="Picture 7">
            <a:extLst>
              <a:ext uri="{FF2B5EF4-FFF2-40B4-BE49-F238E27FC236}">
                <a16:creationId xmlns:a16="http://schemas.microsoft.com/office/drawing/2014/main" id="{457A6745-BC98-4293-9493-5518C80E14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4364"/>
          <a:stretch/>
        </p:blipFill>
        <p:spPr bwMode="auto">
          <a:xfrm>
            <a:off x="4839697" y="2832186"/>
            <a:ext cx="2197484" cy="1442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Criar Campanha">
            <a:extLst>
              <a:ext uri="{FF2B5EF4-FFF2-40B4-BE49-F238E27FC236}">
                <a16:creationId xmlns:a16="http://schemas.microsoft.com/office/drawing/2014/main" id="{52DC73A2-ACDA-4CBF-B500-4312EA2B73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632"/>
          <a:stretch/>
        </p:blipFill>
        <p:spPr bwMode="auto">
          <a:xfrm>
            <a:off x="9701904" y="2835817"/>
            <a:ext cx="2197484" cy="144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A39F7F1F-08F0-40D0-BC31-F054C4B0364A}"/>
              </a:ext>
            </a:extLst>
          </p:cNvPr>
          <p:cNvSpPr/>
          <p:nvPr/>
        </p:nvSpPr>
        <p:spPr>
          <a:xfrm>
            <a:off x="7290203" y="2346009"/>
            <a:ext cx="2197484" cy="3393156"/>
          </a:xfrm>
          <a:prstGeom prst="rect">
            <a:avLst/>
          </a:prstGeom>
          <a:solidFill>
            <a:srgbClr val="E7F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2CA5F0D0-7C6F-45BC-9C65-2200F8ADE12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998"/>
          <a:stretch/>
        </p:blipFill>
        <p:spPr>
          <a:xfrm>
            <a:off x="7290202" y="2819219"/>
            <a:ext cx="2197484" cy="1455313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F26D47C5-589B-4D8E-8120-F91FB6BB179B}"/>
              </a:ext>
            </a:extLst>
          </p:cNvPr>
          <p:cNvSpPr/>
          <p:nvPr/>
        </p:nvSpPr>
        <p:spPr>
          <a:xfrm>
            <a:off x="7290203" y="2171700"/>
            <a:ext cx="2197484" cy="685336"/>
          </a:xfrm>
          <a:prstGeom prst="rect">
            <a:avLst/>
          </a:prstGeom>
          <a:solidFill>
            <a:srgbClr val="00BEB4"/>
          </a:solidFill>
          <a:ln>
            <a:solidFill>
              <a:srgbClr val="00BEB4"/>
            </a:solidFill>
          </a:ln>
        </p:spPr>
        <p:txBody>
          <a:bodyPr rot="0" spcFirstLastPara="0" vertOverflow="overflow" horzOverflow="overflow" vert="horz" wrap="square" lIns="87086" tIns="43543" rIns="87086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pt-PT" sz="1524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ar Lojas Onlin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84B78CA-E16C-4740-BADE-593DCA22C031}"/>
              </a:ext>
            </a:extLst>
          </p:cNvPr>
          <p:cNvSpPr/>
          <p:nvPr/>
        </p:nvSpPr>
        <p:spPr>
          <a:xfrm>
            <a:off x="7290202" y="4432041"/>
            <a:ext cx="2197484" cy="18694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0F6DA"/>
            </a:solidFill>
          </a:ln>
        </p:spPr>
        <p:txBody>
          <a:bodyPr rot="0" spcFirstLastPara="0" vertOverflow="overflow" horzOverflow="overflow" vert="horz" wrap="square" lIns="87086" tIns="43543" rIns="87086" bIns="4354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pt-PT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erta que permite às PMEs nacionais criarem lojas virtuais para a venda online dos seus produtos, com integração de todas as componentes transacionais de pagamento e entrega.</a:t>
            </a:r>
            <a:endParaRPr lang="pt-P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B14D469-DF51-4493-87F5-5A29B64C1F57}"/>
              </a:ext>
            </a:extLst>
          </p:cNvPr>
          <p:cNvSpPr/>
          <p:nvPr/>
        </p:nvSpPr>
        <p:spPr>
          <a:xfrm>
            <a:off x="2385357" y="2337641"/>
            <a:ext cx="2197484" cy="3393156"/>
          </a:xfrm>
          <a:prstGeom prst="rect">
            <a:avLst/>
          </a:prstGeom>
          <a:solidFill>
            <a:srgbClr val="E7FF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C15A325-8827-4238-BEB6-12C635816184}"/>
              </a:ext>
            </a:extLst>
          </p:cNvPr>
          <p:cNvSpPr/>
          <p:nvPr/>
        </p:nvSpPr>
        <p:spPr>
          <a:xfrm>
            <a:off x="2385357" y="2153996"/>
            <a:ext cx="2197484" cy="685336"/>
          </a:xfrm>
          <a:prstGeom prst="rect">
            <a:avLst/>
          </a:prstGeom>
          <a:solidFill>
            <a:srgbClr val="00BEB4"/>
          </a:solidFill>
          <a:ln>
            <a:solidFill>
              <a:srgbClr val="00BEB4"/>
            </a:solidFill>
          </a:ln>
        </p:spPr>
        <p:txBody>
          <a:bodyPr rot="0" spcFirstLastPara="0" vertOverflow="overflow" horzOverflow="overflow" vert="horz" wrap="square" lIns="87086" tIns="43543" rIns="87086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pt-PT" sz="1524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92C0D9F-DE87-42E0-A079-1ABEBC5027A0}"/>
              </a:ext>
            </a:extLst>
          </p:cNvPr>
          <p:cNvSpPr/>
          <p:nvPr/>
        </p:nvSpPr>
        <p:spPr>
          <a:xfrm>
            <a:off x="2385357" y="4423673"/>
            <a:ext cx="2197484" cy="18694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0F6DA"/>
            </a:solidFill>
          </a:ln>
        </p:spPr>
        <p:txBody>
          <a:bodyPr rot="0" spcFirstLastPara="0" vertOverflow="overflow" horzOverflow="overflow" vert="horz" wrap="square" lIns="87086" tIns="43543" rIns="87086" bIns="4354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pt-PT" sz="1200" dirty="0">
                <a:latin typeface="Arial" panose="020B0604020202020204" pitchFamily="34" charset="0"/>
                <a:cs typeface="Arial" panose="020B0604020202020204" pitchFamily="34" charset="0"/>
              </a:rPr>
              <a:t>Plataforma digital de enfoque local, lançada em articulação com os Municípios, que assegura todas as componentes transacionais de compra e venda dos comerciantes e clientes finais (pagamentos, recolha no comerciante, entregas).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1D13EF39-B5A4-4FA2-BBB9-DAE6BBBF873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0499" t="1" r="14290" b="3078"/>
          <a:stretch/>
        </p:blipFill>
        <p:spPr>
          <a:xfrm>
            <a:off x="2385344" y="2837221"/>
            <a:ext cx="2197499" cy="1442345"/>
          </a:xfrm>
          <a:prstGeom prst="rect">
            <a:avLst/>
          </a:prstGeom>
        </p:spPr>
      </p:pic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76BA8A3D-1ADE-43F0-A618-EE46A04C2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2666" y="6354466"/>
            <a:ext cx="3256722" cy="365125"/>
          </a:xfrm>
        </p:spPr>
        <p:txBody>
          <a:bodyPr/>
          <a:lstStyle/>
          <a:p>
            <a:pPr algn="r"/>
            <a:fld id="{3D8B869F-89A9-CB47-B2D6-80F8E9D3668B}" type="slidenum">
              <a:rPr lang="pt-PT" sz="1200" b="0" smtClean="0"/>
              <a:pPr algn="r"/>
              <a:t>3</a:t>
            </a:fld>
            <a:endParaRPr lang="pt-PT" sz="1200" b="0" dirty="0"/>
          </a:p>
        </p:txBody>
      </p:sp>
    </p:spTree>
    <p:extLst>
      <p:ext uri="{BB962C8B-B14F-4D97-AF65-F5344CB8AC3E}">
        <p14:creationId xmlns:p14="http://schemas.microsoft.com/office/powerpoint/2010/main" val="21169531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37B0CA-77E5-433E-B71B-C78BFC7BA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37B0CA-77E5-433E-B71B-C78BFC7BA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F8DE52-F407-47F6-B25F-EBB545D98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4466"/>
            <a:ext cx="3256722" cy="365125"/>
          </a:xfrm>
        </p:spPr>
        <p:txBody>
          <a:bodyPr/>
          <a:lstStyle/>
          <a:p>
            <a:fld id="{3D8B869F-89A9-CB47-B2D6-80F8E9D3668B}" type="slidenum">
              <a:rPr lang="pt-PT" smtClean="0"/>
              <a:pPr/>
              <a:t>4</a:t>
            </a:fld>
            <a:endParaRPr lang="pt-PT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535344-989C-4D63-AF95-C06F1DB6C628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94EF96D-0517-4EF3-80EB-71257B997048}"/>
              </a:ext>
            </a:extLst>
          </p:cNvPr>
          <p:cNvSpPr txBox="1"/>
          <p:nvPr/>
        </p:nvSpPr>
        <p:spPr>
          <a:xfrm>
            <a:off x="304241" y="411906"/>
            <a:ext cx="26762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5E4172-729E-427F-BC93-BEEEC2F98E17}"/>
              </a:ext>
            </a:extLst>
          </p:cNvPr>
          <p:cNvSpPr txBox="1"/>
          <p:nvPr/>
        </p:nvSpPr>
        <p:spPr>
          <a:xfrm>
            <a:off x="304243" y="1188064"/>
            <a:ext cx="21172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judar o comércio loc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86D52E-17A5-473D-827B-D6AE7F974E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2480" y="2590801"/>
            <a:ext cx="2746054" cy="34110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1F17A81-C4B7-4AC6-A27F-8C1DCE95BFBE}"/>
              </a:ext>
            </a:extLst>
          </p:cNvPr>
          <p:cNvSpPr/>
          <p:nvPr/>
        </p:nvSpPr>
        <p:spPr>
          <a:xfrm>
            <a:off x="3713332" y="503534"/>
            <a:ext cx="7361068" cy="1838196"/>
          </a:xfrm>
          <a:prstGeom prst="rect">
            <a:avLst/>
          </a:prstGeom>
        </p:spPr>
        <p:txBody>
          <a:bodyPr wrap="square" lIns="36000" rIns="72000">
            <a:spAutoFit/>
          </a:bodyPr>
          <a:lstStyle/>
          <a:p>
            <a:pPr>
              <a:lnSpc>
                <a:spcPts val="2200"/>
              </a:lnSpc>
              <a:spcAft>
                <a:spcPts val="600"/>
              </a:spcAft>
            </a:pP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Para ajudar a promover a sustentabilidade do tecido empresarial nacional num contexto desafiante, os CTT desenvolveram a solução </a:t>
            </a:r>
            <a:r>
              <a:rPr lang="pt-PT" sz="1600" b="1" dirty="0">
                <a:solidFill>
                  <a:srgbClr val="00BE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. </a:t>
            </a:r>
          </a:p>
          <a:p>
            <a:pPr>
              <a:lnSpc>
                <a:spcPts val="2200"/>
              </a:lnSpc>
              <a:spcAft>
                <a:spcPts val="600"/>
              </a:spcAft>
            </a:pP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Solução </a:t>
            </a: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que visa disponibilizar um novo canal de venda aos pequenos comerciantes locais, 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agilizando a sua transição para o digital como forma de superar as dificuldades sentidas.</a:t>
            </a:r>
            <a:endParaRPr lang="pt-PT" sz="1600" b="1" dirty="0">
              <a:solidFill>
                <a:srgbClr val="00BE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C2C0457-E756-4317-968A-598EAEA4D411}"/>
              </a:ext>
            </a:extLst>
          </p:cNvPr>
          <p:cNvSpPr/>
          <p:nvPr/>
        </p:nvSpPr>
        <p:spPr>
          <a:xfrm>
            <a:off x="0" y="3624110"/>
            <a:ext cx="357293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1200"/>
              </a:spcBef>
              <a:spcAft>
                <a:spcPts val="1200"/>
              </a:spcAft>
            </a:pP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A pouca afluência na grande maioria das lojas e mercados e a reduzida presença do comércio local nos meios digitais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levou os CTT, com a sua entrega total,</a:t>
            </a: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a apoiar o comércio local na dinamização do seu negócio.</a:t>
            </a:r>
            <a:endParaRPr lang="pt-PT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44A2C85-5B4C-455F-AB38-28B78E9E260A}"/>
              </a:ext>
            </a:extLst>
          </p:cNvPr>
          <p:cNvSpPr/>
          <p:nvPr/>
        </p:nvSpPr>
        <p:spPr>
          <a:xfrm>
            <a:off x="6468533" y="3115733"/>
            <a:ext cx="5723467" cy="2895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94B056-6301-4101-8957-7047165AC10E}"/>
              </a:ext>
            </a:extLst>
          </p:cNvPr>
          <p:cNvSpPr/>
          <p:nvPr/>
        </p:nvSpPr>
        <p:spPr>
          <a:xfrm>
            <a:off x="6688667" y="3370124"/>
            <a:ext cx="5249333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Solução tecnológica 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para transações comerciais de fácil utilização </a:t>
            </a: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que reúne num único local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Comerciantes e respetivos produtos;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Potenciais compradores;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Meios de pagamento eletrónico;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Parceiro para entregas;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Suporte e apoio dos Municípios.</a:t>
            </a:r>
          </a:p>
        </p:txBody>
      </p:sp>
    </p:spTree>
    <p:extLst>
      <p:ext uri="{BB962C8B-B14F-4D97-AF65-F5344CB8AC3E}">
        <p14:creationId xmlns:p14="http://schemas.microsoft.com/office/powerpoint/2010/main" val="21982839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4EFD28F-8CD3-4747-B14F-126245F70D2B}"/>
              </a:ext>
            </a:extLst>
          </p:cNvPr>
          <p:cNvSpPr/>
          <p:nvPr/>
        </p:nvSpPr>
        <p:spPr>
          <a:xfrm>
            <a:off x="1049867" y="2501598"/>
            <a:ext cx="6231468" cy="691243"/>
          </a:xfrm>
          <a:prstGeom prst="rect">
            <a:avLst/>
          </a:prstGeom>
          <a:solidFill>
            <a:srgbClr val="DE00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787C1AD-90B2-4664-BD05-427F8470315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264397" y="3180912"/>
            <a:ext cx="4711882" cy="2898156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9A968DA-58EC-41F7-975F-16E723832E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9A968DA-58EC-41F7-975F-16E723832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9E367-A930-4DAF-B988-C0DAF5EAB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B869F-89A9-CB47-B2D6-80F8E9D3668B}" type="slidenum">
              <a:rPr lang="pt-PT" smtClean="0"/>
              <a:pPr/>
              <a:t>5</a:t>
            </a:fld>
            <a:endParaRPr lang="pt-PT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D365BE-FB83-44E5-84C5-B4591A470A02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2D4FB0-699A-413D-A9CB-DBD2780A3871}"/>
              </a:ext>
            </a:extLst>
          </p:cNvPr>
          <p:cNvSpPr txBox="1"/>
          <p:nvPr/>
        </p:nvSpPr>
        <p:spPr>
          <a:xfrm>
            <a:off x="168779" y="1245304"/>
            <a:ext cx="15753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el dos Município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5A27FF-845A-4813-8D38-3DA7C3DFC94A}"/>
              </a:ext>
            </a:extLst>
          </p:cNvPr>
          <p:cNvSpPr/>
          <p:nvPr/>
        </p:nvSpPr>
        <p:spPr>
          <a:xfrm>
            <a:off x="3725333" y="452735"/>
            <a:ext cx="7045936" cy="1369606"/>
          </a:xfrm>
          <a:prstGeom prst="rect">
            <a:avLst/>
          </a:prstGeom>
        </p:spPr>
        <p:txBody>
          <a:bodyPr wrap="square" lIns="36000" rIns="72000">
            <a:spAutoFit/>
          </a:bodyPr>
          <a:lstStyle/>
          <a:p>
            <a:pPr>
              <a:spcAft>
                <a:spcPts val="1800"/>
              </a:spcAft>
            </a:pPr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Os Municípios terão um papel primordial na dinamização da solução Comércio Local junto do tecido empresarial local. </a:t>
            </a:r>
          </a:p>
          <a:p>
            <a:pPr>
              <a:spcAft>
                <a:spcPts val="1800"/>
              </a:spcAft>
            </a:pP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O apoio aos comerciantes no processo de adesão e as ações de divulgação da aplicação aos munícipes fará o sucesso desta solução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0040A8-6A2D-4B19-9994-801AFCB1C1F8}"/>
              </a:ext>
            </a:extLst>
          </p:cNvPr>
          <p:cNvSpPr txBox="1"/>
          <p:nvPr/>
        </p:nvSpPr>
        <p:spPr>
          <a:xfrm>
            <a:off x="168777" y="411906"/>
            <a:ext cx="26762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FD957F5-4EA0-45B3-8C45-7214316FA827}"/>
              </a:ext>
            </a:extLst>
          </p:cNvPr>
          <p:cNvSpPr/>
          <p:nvPr/>
        </p:nvSpPr>
        <p:spPr>
          <a:xfrm>
            <a:off x="2024686" y="2685536"/>
            <a:ext cx="47714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</a:pPr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PROMOVER </a:t>
            </a:r>
            <a:r>
              <a:rPr lang="pt-PT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TT COMÉRCIO LOCAL É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AF04861-BD14-463D-B2AC-094338A535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395472" y="0"/>
            <a:ext cx="3703899" cy="339880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C229472-234F-439E-AF3D-1EB7B5AA830A}"/>
              </a:ext>
            </a:extLst>
          </p:cNvPr>
          <p:cNvSpPr/>
          <p:nvPr/>
        </p:nvSpPr>
        <p:spPr>
          <a:xfrm>
            <a:off x="1049866" y="3234266"/>
            <a:ext cx="6231469" cy="2878667"/>
          </a:xfrm>
          <a:prstGeom prst="rect">
            <a:avLst/>
          </a:prstGeom>
          <a:solidFill>
            <a:schemeClr val="bg2">
              <a:lumMod val="75000"/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08762C-55F9-46A4-986C-6314ABB092F6}"/>
              </a:ext>
            </a:extLst>
          </p:cNvPr>
          <p:cNvSpPr/>
          <p:nvPr/>
        </p:nvSpPr>
        <p:spPr>
          <a:xfrm>
            <a:off x="1236132" y="3359835"/>
            <a:ext cx="6096001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Apostar em medidas de fomento à revitalização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do tecido económico local;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Ter facilidade de gestão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, já que os CTT prestam o serviço de forma totalmente integrada (software, pagamentos e transporte);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Divulgar a solução junto dos comerciantes e munícipes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através de </a:t>
            </a:r>
            <a:r>
              <a:rPr lang="pt-PT" sz="1400" dirty="0" err="1">
                <a:latin typeface="Arial" panose="020B0604020202020204" pitchFamily="34" charset="0"/>
                <a:cs typeface="Arial" panose="020B0604020202020204" pitchFamily="34" charset="0"/>
              </a:rPr>
              <a:t>infomail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400" dirty="0" err="1">
                <a:latin typeface="Arial" panose="020B0604020202020204" pitchFamily="34" charset="0"/>
                <a:cs typeface="Arial" panose="020B0604020202020204" pitchFamily="34" charset="0"/>
              </a:rPr>
              <a:t>SMSs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 ou email marketing;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Dar apoio na gestão da plataforma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, nomeadamente para o </a:t>
            </a:r>
            <a:r>
              <a:rPr lang="pt-PT" sz="1400" dirty="0" err="1">
                <a:latin typeface="Arial" panose="020B0604020202020204" pitchFamily="34" charset="0"/>
                <a:cs typeface="Arial" panose="020B0604020202020204" pitchFamily="34" charset="0"/>
              </a:rPr>
              <a:t>onboarding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 e gestão diária dos comerciantes com menos apetências digitais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79219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FFD0280-4D62-4031-A76D-B5C8335D92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240" y="2580364"/>
            <a:ext cx="2102728" cy="35532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6F4413D4-42E2-4D9B-955A-CE3496DB94AF}"/>
              </a:ext>
            </a:extLst>
          </p:cNvPr>
          <p:cNvSpPr/>
          <p:nvPr/>
        </p:nvSpPr>
        <p:spPr>
          <a:xfrm>
            <a:off x="5245741" y="2552398"/>
            <a:ext cx="6468534" cy="691243"/>
          </a:xfrm>
          <a:prstGeom prst="rect">
            <a:avLst/>
          </a:prstGeom>
          <a:solidFill>
            <a:srgbClr val="B4D2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B124C57-3BC7-462B-8237-FF8C888829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B124C57-3BC7-462B-8237-FF8C888829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4102C-95C8-4993-977D-FABBF594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B869F-89A9-CB47-B2D6-80F8E9D3668B}" type="slidenum">
              <a:rPr lang="pt-PT" smtClean="0"/>
              <a:pPr/>
              <a:t>6</a:t>
            </a:fld>
            <a:endParaRPr lang="pt-PT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89A5FC-045E-4092-999B-D47C723028BE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6ACB9D5E-03B2-4F4D-A618-D6C3C5E2FAED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32567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PT"/>
            </a:defPPr>
            <a:lvl1pPr marL="0" algn="r" defTabSz="914400" rtl="0" eaLnBrk="1" latinLnBrk="0" hangingPunct="1">
              <a:defRPr sz="12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8B869F-89A9-CB47-B2D6-80F8E9D3668B}" type="slidenum">
              <a:rPr lang="pt-PT" smtClean="0">
                <a:cs typeface="Arial" panose="020B0604020202020204" pitchFamily="34" charset="0"/>
              </a:rPr>
              <a:pPr/>
              <a:t>6</a:t>
            </a:fld>
            <a:endParaRPr lang="pt-PT" dirty="0"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51E8D6-9643-41ED-9419-6D4D964D79DD}"/>
              </a:ext>
            </a:extLst>
          </p:cNvPr>
          <p:cNvSpPr txBox="1"/>
          <p:nvPr/>
        </p:nvSpPr>
        <p:spPr>
          <a:xfrm>
            <a:off x="151845" y="1262235"/>
            <a:ext cx="20325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ntagens para os comerciant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587115-00BE-4EFA-9E72-3115E82C7D5A}"/>
              </a:ext>
            </a:extLst>
          </p:cNvPr>
          <p:cNvSpPr/>
          <p:nvPr/>
        </p:nvSpPr>
        <p:spPr>
          <a:xfrm>
            <a:off x="3713332" y="655935"/>
            <a:ext cx="7108737" cy="914866"/>
          </a:xfrm>
          <a:prstGeom prst="rect">
            <a:avLst/>
          </a:prstGeom>
        </p:spPr>
        <p:txBody>
          <a:bodyPr wrap="square" lIns="36000" rIns="72000">
            <a:spAutoFit/>
          </a:bodyPr>
          <a:lstStyle/>
          <a:p>
            <a:pPr>
              <a:lnSpc>
                <a:spcPts val="2200"/>
              </a:lnSpc>
              <a:spcAft>
                <a:spcPts val="1800"/>
              </a:spcAft>
            </a:pPr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Com a solução CTT Comércio Local os comerciantes terão acesso a um maior número de clientes potenciais e a uma fonte de rendimentos complementar à loja física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06EFCB6-BB21-4033-BBBE-E0826F7A938E}"/>
              </a:ext>
            </a:extLst>
          </p:cNvPr>
          <p:cNvSpPr txBox="1"/>
          <p:nvPr/>
        </p:nvSpPr>
        <p:spPr>
          <a:xfrm>
            <a:off x="168777" y="411906"/>
            <a:ext cx="26762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09BDF9D-8FC6-4AB2-8F14-AE36B3E2C9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95472" y="0"/>
            <a:ext cx="3703899" cy="33988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E7FE250-A47F-453D-813B-7E9192D8FE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16918" y="2597296"/>
            <a:ext cx="1998675" cy="35532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ED537C7-421D-406C-B353-C4479DC3D157}"/>
              </a:ext>
            </a:extLst>
          </p:cNvPr>
          <p:cNvSpPr/>
          <p:nvPr/>
        </p:nvSpPr>
        <p:spPr>
          <a:xfrm>
            <a:off x="6325059" y="2736336"/>
            <a:ext cx="44679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</a:pPr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ADERIR</a:t>
            </a:r>
            <a:r>
              <a:rPr lang="pt-PT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 CTT COMÉRCIO LOCAL É: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993184F-22E9-4A05-8DD0-DAB17647109A}"/>
              </a:ext>
            </a:extLst>
          </p:cNvPr>
          <p:cNvSpPr/>
          <p:nvPr/>
        </p:nvSpPr>
        <p:spPr>
          <a:xfrm>
            <a:off x="5216748" y="3465833"/>
            <a:ext cx="6526521" cy="2508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Ter acesso a uma solução completa e extremamente simples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Ter facilidade na receção e confirmação de encomendas 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através da app comerciante ou simplesmente por SMS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Contar com apoio de uma equipa 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para suportar o processo d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onboarding</a:t>
            </a:r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Ter assegurada a transferência para a conta bancária do comerciante 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dos valores das vendas efetuadas através da app</a:t>
            </a:r>
          </a:p>
        </p:txBody>
      </p:sp>
    </p:spTree>
    <p:extLst>
      <p:ext uri="{BB962C8B-B14F-4D97-AF65-F5344CB8AC3E}">
        <p14:creationId xmlns:p14="http://schemas.microsoft.com/office/powerpoint/2010/main" val="539681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BC8EBB03-D7EC-4CD4-8028-CBA319741C66}"/>
              </a:ext>
            </a:extLst>
          </p:cNvPr>
          <p:cNvGrpSpPr/>
          <p:nvPr/>
        </p:nvGrpSpPr>
        <p:grpSpPr>
          <a:xfrm>
            <a:off x="0" y="2472268"/>
            <a:ext cx="5573728" cy="3443348"/>
            <a:chOff x="7917873" y="2213264"/>
            <a:chExt cx="5112327" cy="286789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1C6D85-8879-4453-B176-881299C667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78101" y="2448953"/>
              <a:ext cx="1395650" cy="245634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71D8D23-6B01-47C2-89DB-E0508CBB84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352019" y="2448953"/>
              <a:ext cx="1395650" cy="2477721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EED9FE1-DC9C-4ADD-9B82-B2565E2123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99830" y="2462256"/>
              <a:ext cx="1395650" cy="2466928"/>
            </a:xfrm>
            <a:prstGeom prst="rect">
              <a:avLst/>
            </a:prstGeom>
            <a:ln>
              <a:noFill/>
            </a:ln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422C351-EA7C-4666-9385-8F91345A7F9B}"/>
                </a:ext>
              </a:extLst>
            </p:cNvPr>
            <p:cNvSpPr/>
            <p:nvPr/>
          </p:nvSpPr>
          <p:spPr>
            <a:xfrm>
              <a:off x="7917873" y="2213264"/>
              <a:ext cx="5112327" cy="2867891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311C91-3345-43B2-AA5D-8228E9498D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311C91-3345-43B2-AA5D-8228E9498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2300C2-557D-42FF-86AA-630E6F43B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B869F-89A9-CB47-B2D6-80F8E9D3668B}" type="slidenum">
              <a:rPr lang="pt-PT" smtClean="0"/>
              <a:pPr/>
              <a:t>7</a:t>
            </a:fld>
            <a:endParaRPr lang="pt-PT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74ED6C4-996F-4625-BE1D-74BA7BD22466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217487-9CDB-4B83-9A42-8B068C994D09}"/>
              </a:ext>
            </a:extLst>
          </p:cNvPr>
          <p:cNvSpPr txBox="1"/>
          <p:nvPr/>
        </p:nvSpPr>
        <p:spPr>
          <a:xfrm>
            <a:off x="168778" y="1313036"/>
            <a:ext cx="26762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ntagens para os consumidores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162BA6-8571-4181-9B74-F078F2ABB4B7}"/>
              </a:ext>
            </a:extLst>
          </p:cNvPr>
          <p:cNvSpPr/>
          <p:nvPr/>
        </p:nvSpPr>
        <p:spPr>
          <a:xfrm>
            <a:off x="5655733" y="3393886"/>
            <a:ext cx="6079067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Ter acesso à qualidade e diversidade dos produtos locais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a partir do conforto e segurança de casa;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Evitar filas de espera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para acesso às lojas físicas;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Dar apoio à economia local;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Facilidade de compra e de pagamento.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 A aplicação integra vários meios de pagamentos mais utilizados em Portugal (ex.: MBway);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Ter um serviço conveniente e económico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, com dois modos de entrega disponíveis: </a:t>
            </a: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takeaway ou entrega no domicílio </a:t>
            </a:r>
            <a:r>
              <a:rPr lang="pt-PT" sz="1400" dirty="0">
                <a:latin typeface="Arial" panose="020B0604020202020204" pitchFamily="34" charset="0"/>
                <a:cs typeface="Arial" panose="020B0604020202020204" pitchFamily="34" charset="0"/>
              </a:rPr>
              <a:t>através dos CT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6BA317-CA6F-49DE-BC6E-CD6F9D8EF866}"/>
              </a:ext>
            </a:extLst>
          </p:cNvPr>
          <p:cNvSpPr txBox="1"/>
          <p:nvPr/>
        </p:nvSpPr>
        <p:spPr>
          <a:xfrm>
            <a:off x="168777" y="411906"/>
            <a:ext cx="26762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BC46E3-F27B-49C2-8D9E-B7D68A2D6B27}"/>
              </a:ext>
            </a:extLst>
          </p:cNvPr>
          <p:cNvSpPr/>
          <p:nvPr/>
        </p:nvSpPr>
        <p:spPr>
          <a:xfrm>
            <a:off x="5621867" y="2552398"/>
            <a:ext cx="6092407" cy="691243"/>
          </a:xfrm>
          <a:prstGeom prst="rect">
            <a:avLst/>
          </a:prstGeom>
          <a:solidFill>
            <a:srgbClr val="C292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1D9EF5-8CBC-454D-B1A2-E718F74DDE17}"/>
              </a:ext>
            </a:extLst>
          </p:cNvPr>
          <p:cNvSpPr/>
          <p:nvPr/>
        </p:nvSpPr>
        <p:spPr>
          <a:xfrm>
            <a:off x="6325059" y="2736336"/>
            <a:ext cx="44723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</a:pPr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UTILIZAR</a:t>
            </a:r>
            <a:r>
              <a:rPr lang="pt-PT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CTT COMÉRCIO LOCAL É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4203D4-BC78-497B-88A4-1FBE4CB57212}"/>
              </a:ext>
            </a:extLst>
          </p:cNvPr>
          <p:cNvSpPr/>
          <p:nvPr/>
        </p:nvSpPr>
        <p:spPr>
          <a:xfrm>
            <a:off x="3640667" y="313605"/>
            <a:ext cx="7095066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Para utilizar a solução de Comércio Local os potenciais utilizadores poderão fazer download da App</a:t>
            </a:r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 para IOS ou para Android.</a:t>
            </a:r>
          </a:p>
          <a:p>
            <a:pPr>
              <a:spcAft>
                <a:spcPts val="1200"/>
              </a:spcAft>
            </a:pPr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aplicação terá disponível a </a:t>
            </a: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rede comerciantes da região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os </a:t>
            </a: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meios de pagamento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habituais e </a:t>
            </a:r>
            <a:r>
              <a:rPr lang="pt-PT" sz="1600" b="1" dirty="0">
                <a:latin typeface="Arial" panose="020B0604020202020204" pitchFamily="34" charset="0"/>
                <a:cs typeface="Arial" panose="020B0604020202020204" pitchFamily="34" charset="0"/>
              </a:rPr>
              <a:t>soluções de distribuição dos CT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para a entrega da encomenda</a:t>
            </a:r>
            <a:r>
              <a:rPr lang="pt-PT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654091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37B0CA-77E5-433E-B71B-C78BFC7BA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37B0CA-77E5-433E-B71B-C78BFC7BA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F8DE52-F407-47F6-B25F-EBB545D98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B869F-89A9-CB47-B2D6-80F8E9D3668B}" type="slidenum">
              <a:rPr lang="pt-PT" smtClean="0"/>
              <a:pPr/>
              <a:t>8</a:t>
            </a:fld>
            <a:endParaRPr lang="pt-PT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F781EFF-E6DA-4267-8749-8E35EB32F1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395472" y="0"/>
            <a:ext cx="3703899" cy="339880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B31A48E-0970-455E-807F-C9120B16F786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47DF79-0C04-4EB3-B13C-294CC02F2417}"/>
              </a:ext>
            </a:extLst>
          </p:cNvPr>
          <p:cNvSpPr txBox="1"/>
          <p:nvPr/>
        </p:nvSpPr>
        <p:spPr>
          <a:xfrm>
            <a:off x="168778" y="1313036"/>
            <a:ext cx="2676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nstraçã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2D1A49-B774-490B-BB2B-77C019E9373B}"/>
              </a:ext>
            </a:extLst>
          </p:cNvPr>
          <p:cNvSpPr txBox="1"/>
          <p:nvPr/>
        </p:nvSpPr>
        <p:spPr>
          <a:xfrm>
            <a:off x="168777" y="411906"/>
            <a:ext cx="26762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CTT_ComLocal">
            <a:hlinkClick r:id="" action="ppaction://media"/>
            <a:extLst>
              <a:ext uri="{FF2B5EF4-FFF2-40B4-BE49-F238E27FC236}">
                <a16:creationId xmlns:a16="http://schemas.microsoft.com/office/drawing/2014/main" id="{E6EDC3E2-C1FF-410D-81FA-1BD43A61EA0B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0" y="-27152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731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004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37B0CA-77E5-433E-B71B-C78BFC7BAD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37B0CA-77E5-433E-B71B-C78BFC7BA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F8DE52-F407-47F6-B25F-EBB545D98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8B869F-89A9-CB47-B2D6-80F8E9D3668B}" type="slidenum">
              <a:rPr lang="pt-PT" smtClean="0"/>
              <a:pPr/>
              <a:t>9</a:t>
            </a:fld>
            <a:endParaRPr lang="pt-PT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F781EFF-E6DA-4267-8749-8E35EB32F1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95472" y="0"/>
            <a:ext cx="3703899" cy="339880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B31A48E-0970-455E-807F-C9120B16F786}"/>
              </a:ext>
            </a:extLst>
          </p:cNvPr>
          <p:cNvSpPr/>
          <p:nvPr/>
        </p:nvSpPr>
        <p:spPr>
          <a:xfrm rot="2600596">
            <a:off x="-644882" y="-661066"/>
            <a:ext cx="3570203" cy="3163374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47DF79-0C04-4EB3-B13C-294CC02F2417}"/>
              </a:ext>
            </a:extLst>
          </p:cNvPr>
          <p:cNvSpPr txBox="1"/>
          <p:nvPr/>
        </p:nvSpPr>
        <p:spPr>
          <a:xfrm>
            <a:off x="168778" y="1313036"/>
            <a:ext cx="26762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unicaçã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2D1A49-B774-490B-BB2B-77C019E9373B}"/>
              </a:ext>
            </a:extLst>
          </p:cNvPr>
          <p:cNvSpPr txBox="1"/>
          <p:nvPr/>
        </p:nvSpPr>
        <p:spPr>
          <a:xfrm>
            <a:off x="168777" y="411906"/>
            <a:ext cx="26762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T COMÉRCIO LOCAL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59723F-4906-4B68-A729-42D35051F4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1852" y="1565087"/>
            <a:ext cx="3292610" cy="43308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573C13-22E5-4FAD-B63D-25126051AE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7630" y="1431873"/>
            <a:ext cx="3256722" cy="4481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485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5.69532790000000055386E+00&quot;&gt;&lt;m_msothmcolidx val=&quot;0&quot;/&gt;&lt;m_rgb r=&quot;E2&quot; g=&quot;00&quot; b=&quot;24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1ef.xqaM7rXeCOeBh8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Kk3nMk9nI.THq56JMe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iy99BlNKOR9W9JzmcK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6GQP0M6QMPjeBVu9Sv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ZGlIrN2gKj1qqMVoCE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sEga9iM4LcociQ.OAV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iy99BlNKOR9W9JzmcK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QGAmub...KZcKbATAJ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813B52688696C47BCBB53A07FD26C6E" ma:contentTypeVersion="13" ma:contentTypeDescription="Criar um novo documento." ma:contentTypeScope="" ma:versionID="d55f5681f97778576977b534e99b9e33">
  <xsd:schema xmlns:xsd="http://www.w3.org/2001/XMLSchema" xmlns:xs="http://www.w3.org/2001/XMLSchema" xmlns:p="http://schemas.microsoft.com/office/2006/metadata/properties" xmlns:ns3="3bc841a5-0fce-4257-8246-0360f4f6f656" xmlns:ns4="6b9b04b3-12b8-484f-b203-ee49a6430fc0" targetNamespace="http://schemas.microsoft.com/office/2006/metadata/properties" ma:root="true" ma:fieldsID="a32fda4bd62b41cde1a995e66e1374e9" ns3:_="" ns4:_="">
    <xsd:import namespace="3bc841a5-0fce-4257-8246-0360f4f6f656"/>
    <xsd:import namespace="6b9b04b3-12b8-484f-b203-ee49a6430fc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c841a5-0fce-4257-8246-0360f4f6f65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ilhado Com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Partilhado Com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Sugestão de Partilha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9b04b3-12b8-484f-b203-ee49a6430f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120FA1-B40A-4449-9F79-A4E32DBB15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c841a5-0fce-4257-8246-0360f4f6f656"/>
    <ds:schemaRef ds:uri="6b9b04b3-12b8-484f-b203-ee49a6430f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901D970-F23D-4190-B61A-F84F4805FF1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903E50F-B29B-4246-9784-D21523448C8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821</TotalTime>
  <Words>819</Words>
  <Application>Microsoft Office PowerPoint</Application>
  <PresentationFormat>Widescreen</PresentationFormat>
  <Paragraphs>97</Paragraphs>
  <Slides>11</Slides>
  <Notes>5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cto CTT Book</vt:lpstr>
      <vt:lpstr>Arial</vt:lpstr>
      <vt:lpstr>Calibri</vt:lpstr>
      <vt:lpstr>Calibri Light</vt:lpstr>
      <vt:lpstr>Office Theme</vt:lpstr>
      <vt:lpstr>14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 Filipa Lourenço</dc:creator>
  <cp:lastModifiedBy>Mário Vitorino Sousa</cp:lastModifiedBy>
  <cp:revision>1205</cp:revision>
  <dcterms:created xsi:type="dcterms:W3CDTF">2018-02-09T17:19:51Z</dcterms:created>
  <dcterms:modified xsi:type="dcterms:W3CDTF">2021-02-09T18:2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&quot;Classification">
    <vt:lpwstr>Internal"</vt:lpwstr>
  </property>
  <property fmtid="{D5CDD505-2E9C-101B-9397-08002B2CF9AE}" pid="3" name="ContentTypeId">
    <vt:lpwstr>0x0101002813B52688696C47BCBB53A07FD26C6E</vt:lpwstr>
  </property>
</Properties>
</file>